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28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301" r:id="rId11"/>
    <p:sldId id="2147470304" r:id="rId12"/>
    <p:sldId id="2147470302" r:id="rId13"/>
    <p:sldId id="2147470305" r:id="rId14"/>
    <p:sldId id="2147470303" r:id="rId15"/>
    <p:sldId id="2147470306" r:id="rId16"/>
    <p:sldId id="2147470287" r:id="rId17"/>
    <p:sldId id="2147470233" r:id="rId18"/>
    <p:sldId id="2147470307" r:id="rId19"/>
    <p:sldId id="2147470244" r:id="rId20"/>
    <p:sldId id="2147470228" r:id="rId21"/>
    <p:sldId id="2147470227" r:id="rId22"/>
    <p:sldId id="2147470226" r:id="rId23"/>
    <p:sldId id="2147470224" r:id="rId24"/>
    <p:sldId id="2147470252" r:id="rId25"/>
    <p:sldId id="2147470237" r:id="rId26"/>
    <p:sldId id="2147374605" r:id="rId2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301"/>
            <p14:sldId id="2147470304"/>
            <p14:sldId id="2147470302"/>
            <p14:sldId id="2147470305"/>
            <p14:sldId id="2147470303"/>
            <p14:sldId id="2147470306"/>
            <p14:sldId id="2147470287"/>
            <p14:sldId id="2147470233"/>
            <p14:sldId id="2147470307"/>
            <p14:sldId id="2147470244"/>
            <p14:sldId id="2147470228"/>
            <p14:sldId id="2147470227"/>
            <p14:sldId id="2147470226"/>
            <p14:sldId id="2147470224"/>
            <p14:sldId id="2147470252"/>
          </p14:sldIdLst>
        </p14:section>
        <p14:section name="Teste Multicluster" id="{5C627118-ABA7-4617-AC3B-978F7BDC5C1B}">
          <p14:sldIdLst>
            <p14:sldId id="2147470237"/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4A5929-CD66-40A2-A9E2-11FC22D64308}" v="15" dt="2025-08-19T12:48:45.0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30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88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1DB5D1E9-92EF-467B-9A09-A70ED12F8C7B}"/>
    <pc:docChg chg="undo redo custSel addSld delSld modSld sldOrd modSection">
      <pc:chgData name="Alexandre Zanetti de Almeida" userId="129d4ce6-e715-4d33-b4c4-312f1656225b" providerId="ADAL" clId="{1DB5D1E9-92EF-467B-9A09-A70ED12F8C7B}" dt="2025-05-23T20:34:52.447" v="1009" actId="20577"/>
      <pc:docMkLst>
        <pc:docMk/>
      </pc:docMkLst>
      <pc:sldChg chg="modSp mod">
        <pc:chgData name="Alexandre Zanetti de Almeida" userId="129d4ce6-e715-4d33-b4c4-312f1656225b" providerId="ADAL" clId="{1DB5D1E9-92EF-467B-9A09-A70ED12F8C7B}" dt="2025-05-21T10:00:29.534" v="12" actId="6549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1DB5D1E9-92EF-467B-9A09-A70ED12F8C7B}" dt="2025-05-21T10:00:29.534" v="12" actId="6549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1DB5D1E9-92EF-467B-9A09-A70ED12F8C7B}" dt="2025-05-21T11:54:30.803" v="282" actId="2696"/>
        <pc:sldMkLst>
          <pc:docMk/>
          <pc:sldMk cId="2262049528" sldId="2147470239"/>
        </pc:sldMkLst>
      </pc:sldChg>
      <pc:sldChg chg="ord">
        <pc:chgData name="Alexandre Zanetti de Almeida" userId="129d4ce6-e715-4d33-b4c4-312f1656225b" providerId="ADAL" clId="{1DB5D1E9-92EF-467B-9A09-A70ED12F8C7B}" dt="2025-05-23T12:42:16.307" v="699"/>
        <pc:sldMkLst>
          <pc:docMk/>
          <pc:sldMk cId="1880917490" sldId="2147470250"/>
        </pc:sldMkLst>
      </pc:sldChg>
      <pc:sldChg chg="mod ord modShow">
        <pc:chgData name="Alexandre Zanetti de Almeida" userId="129d4ce6-e715-4d33-b4c4-312f1656225b" providerId="ADAL" clId="{1DB5D1E9-92EF-467B-9A09-A70ED12F8C7B}" dt="2025-05-23T12:42:16.307" v="699"/>
        <pc:sldMkLst>
          <pc:docMk/>
          <pc:sldMk cId="4272279068" sldId="2147470251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0:01:58.926" v="23" actId="47"/>
        <pc:sldMkLst>
          <pc:docMk/>
          <pc:sldMk cId="2817282654" sldId="214747028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1T11:42:34.495" v="250" actId="729"/>
        <pc:sldMkLst>
          <pc:docMk/>
          <pc:sldMk cId="1080730617" sldId="2147470284"/>
        </pc:sldMkLst>
      </pc:sldChg>
      <pc:sldChg chg="new del">
        <pc:chgData name="Alexandre Zanetti de Almeida" userId="129d4ce6-e715-4d33-b4c4-312f1656225b" providerId="ADAL" clId="{1DB5D1E9-92EF-467B-9A09-A70ED12F8C7B}" dt="2025-05-21T11:38:11.001" v="158" actId="680"/>
        <pc:sldMkLst>
          <pc:docMk/>
          <pc:sldMk cId="291313348" sldId="2147470285"/>
        </pc:sldMkLst>
      </pc:sldChg>
      <pc:sldChg chg="modSp add mod">
        <pc:chgData name="Alexandre Zanetti de Almeida" userId="129d4ce6-e715-4d33-b4c4-312f1656225b" providerId="ADAL" clId="{1DB5D1E9-92EF-467B-9A09-A70ED12F8C7B}" dt="2025-05-23T20:34:52.447" v="1009" actId="20577"/>
        <pc:sldMkLst>
          <pc:docMk/>
          <pc:sldMk cId="4262446273" sldId="2147470285"/>
        </pc:sldMkLst>
      </pc:sldChg>
      <pc:sldChg chg="modSp add mod modShow">
        <pc:chgData name="Alexandre Zanetti de Almeida" userId="129d4ce6-e715-4d33-b4c4-312f1656225b" providerId="ADAL" clId="{1DB5D1E9-92EF-467B-9A09-A70ED12F8C7B}" dt="2025-05-23T12:18:08.557" v="477"/>
        <pc:sldMkLst>
          <pc:docMk/>
          <pc:sldMk cId="3886147896" sldId="2147470286"/>
        </pc:sldMkLst>
      </pc:sldChg>
      <pc:sldChg chg="addSp delSp modSp add mod">
        <pc:chgData name="Alexandre Zanetti de Almeida" userId="129d4ce6-e715-4d33-b4c4-312f1656225b" providerId="ADAL" clId="{1DB5D1E9-92EF-467B-9A09-A70ED12F8C7B}" dt="2025-05-21T11:56:44.288" v="290" actId="14734"/>
        <pc:sldMkLst>
          <pc:docMk/>
          <pc:sldMk cId="3456330198" sldId="2147470287"/>
        </pc:sldMkLst>
        <pc:spChg chg="add mod">
          <ac:chgData name="Alexandre Zanetti de Almeida" userId="129d4ce6-e715-4d33-b4c4-312f1656225b" providerId="ADAL" clId="{1DB5D1E9-92EF-467B-9A09-A70ED12F8C7B}" dt="2025-05-21T11:54:12.025" v="279"/>
          <ac:spMkLst>
            <pc:docMk/>
            <pc:sldMk cId="3456330198" sldId="2147470287"/>
            <ac:spMk id="23" creationId="{2F973CF5-E546-9B4F-DEF6-39F4E09AB846}"/>
          </ac:spMkLst>
        </pc:spChg>
        <pc:graphicFrameChg chg="add mod modGraphic">
          <ac:chgData name="Alexandre Zanetti de Almeida" userId="129d4ce6-e715-4d33-b4c4-312f1656225b" providerId="ADAL" clId="{1DB5D1E9-92EF-467B-9A09-A70ED12F8C7B}" dt="2025-05-21T11:56:44.288" v="290" actId="14734"/>
          <ac:graphicFrameMkLst>
            <pc:docMk/>
            <pc:sldMk cId="3456330198" sldId="2147470287"/>
            <ac:graphicFrameMk id="20" creationId="{B4CBA59E-EE64-84EA-2D15-7B446CBDE137}"/>
          </ac:graphicFrameMkLst>
        </pc:graphicFrameChg>
      </pc:sldChg>
      <pc:sldChg chg="modSp add del mod">
        <pc:chgData name="Alexandre Zanetti de Almeida" userId="129d4ce6-e715-4d33-b4c4-312f1656225b" providerId="ADAL" clId="{1DB5D1E9-92EF-467B-9A09-A70ED12F8C7B}" dt="2025-05-23T12:42:07.869" v="697" actId="47"/>
        <pc:sldMkLst>
          <pc:docMk/>
          <pc:sldMk cId="2716973536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1:53:54.832" v="276" actId="47"/>
        <pc:sldMkLst>
          <pc:docMk/>
          <pc:sldMk cId="4066329794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38:54.557" v="631" actId="47"/>
        <pc:sldMkLst>
          <pc:docMk/>
          <pc:sldMk cId="20244889" sldId="2147470289"/>
        </pc:sldMkLst>
      </pc:sldChg>
      <pc:sldChg chg="addSp delSp modSp add del setBg delDesignElem">
        <pc:chgData name="Alexandre Zanetti de Almeida" userId="129d4ce6-e715-4d33-b4c4-312f1656225b" providerId="ADAL" clId="{1DB5D1E9-92EF-467B-9A09-A70ED12F8C7B}" dt="2025-05-23T12:53:47.965" v="741" actId="47"/>
        <pc:sldMkLst>
          <pc:docMk/>
          <pc:sldMk cId="998295101" sldId="2147470289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41:27.709" v="692" actId="729"/>
        <pc:sldMkLst>
          <pc:docMk/>
          <pc:sldMk cId="3779101396" sldId="2147470290"/>
        </pc:sldMkLst>
      </pc:sldChg>
      <pc:sldChg chg="modSp add mod">
        <pc:chgData name="Alexandre Zanetti de Almeida" userId="129d4ce6-e715-4d33-b4c4-312f1656225b" providerId="ADAL" clId="{1DB5D1E9-92EF-467B-9A09-A70ED12F8C7B}" dt="2025-05-23T12:41:54.801" v="696"/>
        <pc:sldMkLst>
          <pc:docMk/>
          <pc:sldMk cId="2942458670" sldId="2147470291"/>
        </pc:sldMkLst>
      </pc:sldChg>
      <pc:sldChg chg="modSp add mod modShow">
        <pc:chgData name="Alexandre Zanetti de Almeida" userId="129d4ce6-e715-4d33-b4c4-312f1656225b" providerId="ADAL" clId="{1DB5D1E9-92EF-467B-9A09-A70ED12F8C7B}" dt="2025-05-23T12:41:37.288" v="694" actId="729"/>
        <pc:sldMkLst>
          <pc:docMk/>
          <pc:sldMk cId="735740456" sldId="2147470292"/>
        </pc:sldMkLst>
      </pc:sldChg>
      <pc:sldChg chg="add">
        <pc:chgData name="Alexandre Zanetti de Almeida" userId="129d4ce6-e715-4d33-b4c4-312f1656225b" providerId="ADAL" clId="{1DB5D1E9-92EF-467B-9A09-A70ED12F8C7B}" dt="2025-05-23T12:46:44.482" v="700" actId="2890"/>
        <pc:sldMkLst>
          <pc:docMk/>
          <pc:sldMk cId="3951554011" sldId="214747029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4:06.849" v="747" actId="729"/>
        <pc:sldMkLst>
          <pc:docMk/>
          <pc:sldMk cId="3275488672" sldId="2147470294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17.171" v="749" actId="47"/>
        <pc:sldMkLst>
          <pc:docMk/>
          <pc:sldMk cId="117742514" sldId="2147470295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40.202" v="754" actId="47"/>
        <pc:sldMkLst>
          <pc:docMk/>
          <pc:sldMk cId="420519257" sldId="2147470296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8:34.097" v="938" actId="21"/>
        <pc:sldMkLst>
          <pc:docMk/>
          <pc:sldMk cId="538638572" sldId="2147470297"/>
        </pc:sldMkLst>
      </pc:sldChg>
      <pc:sldChg chg="add del">
        <pc:chgData name="Alexandre Zanetti de Almeida" userId="129d4ce6-e715-4d33-b4c4-312f1656225b" providerId="ADAL" clId="{1DB5D1E9-92EF-467B-9A09-A70ED12F8C7B}" dt="2025-05-23T12:53:32.579" v="736" actId="2890"/>
        <pc:sldMkLst>
          <pc:docMk/>
          <pc:sldMk cId="4094714961" sldId="2147470297"/>
        </pc:sldMkLst>
      </pc:sldChg>
      <pc:sldChg chg="addSp delSp modSp add mod">
        <pc:chgData name="Alexandre Zanetti de Almeida" userId="129d4ce6-e715-4d33-b4c4-312f1656225b" providerId="ADAL" clId="{1DB5D1E9-92EF-467B-9A09-A70ED12F8C7B}" dt="2025-05-23T12:59:01.231" v="957" actId="20577"/>
        <pc:sldMkLst>
          <pc:docMk/>
          <pc:sldMk cId="155112765" sldId="2147470298"/>
        </pc:sldMkLst>
      </pc:sldChg>
    </pc:docChg>
  </pc:docChgLst>
  <pc:docChgLst>
    <pc:chgData name="Alexandre Zanetti de Almeida" userId="129d4ce6-e715-4d33-b4c4-312f1656225b" providerId="ADAL" clId="{BECA18A6-594E-4578-8AB9-5C690EC3EA32}"/>
    <pc:docChg chg="undo redo custSel addSld delSld modSld sldOrd modSection">
      <pc:chgData name="Alexandre Zanetti de Almeida" userId="129d4ce6-e715-4d33-b4c4-312f1656225b" providerId="ADAL" clId="{BECA18A6-594E-4578-8AB9-5C690EC3EA32}" dt="2025-07-24T10:57:59.141" v="2479"/>
      <pc:docMkLst>
        <pc:docMk/>
      </pc:docMkLst>
      <pc:sldChg chg="modSp mod">
        <pc:chgData name="Alexandre Zanetti de Almeida" userId="129d4ce6-e715-4d33-b4c4-312f1656225b" providerId="ADAL" clId="{BECA18A6-594E-4578-8AB9-5C690EC3EA32}" dt="2025-07-23T10:53:15.585" v="1880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BECA18A6-594E-4578-8AB9-5C690EC3EA32}" dt="2025-07-23T10:53:15.585" v="1880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addSp delSp modSp mod ord delAnim modAnim">
        <pc:chgData name="Alexandre Zanetti de Almeida" userId="129d4ce6-e715-4d33-b4c4-312f1656225b" providerId="ADAL" clId="{BECA18A6-594E-4578-8AB9-5C690EC3EA32}" dt="2025-07-24T10:57:59.141" v="2479"/>
        <pc:sldMkLst>
          <pc:docMk/>
          <pc:sldMk cId="3918225123" sldId="2147470233"/>
        </pc:sldMkLst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0" creationId="{04738240-91FB-7AF4-F9C0-CD69A859EF4C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1" creationId="{45F9EBC2-F1B7-B4DB-EBE2-1011D1E7008B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3" creationId="{26CEAF40-FBCE-78D2-2B72-2CD4DF0CAB0A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4" creationId="{EFAFA16E-76FF-DCF0-5F29-9A0716AE1F83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6" creationId="{33F06668-E22E-1CA6-9FDA-1F2D6722DBF5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8" creationId="{4E39C61B-8C2F-A007-FF32-59E06D5C204F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9" creationId="{300C61E6-3B9B-F878-C732-6E9F00CD6FC0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0" creationId="{0A647C99-AC79-FF8F-AD87-ADED38591E5C}"/>
          </ac:spMkLst>
        </pc:spChg>
        <pc:spChg chg="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6" creationId="{59AC44EF-8808-9CAA-DFF2-C01BBC7BCC05}"/>
          </ac:spMkLst>
        </pc:spChg>
        <pc:spChg chg="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8" creationId="{872A1A97-648C-052C-E2C3-4BF4920E755E}"/>
          </ac:spMkLst>
        </pc:spChg>
      </pc:sldChg>
      <pc:sldChg chg="del">
        <pc:chgData name="Alexandre Zanetti de Almeida" userId="129d4ce6-e715-4d33-b4c4-312f1656225b" providerId="ADAL" clId="{BECA18A6-594E-4578-8AB9-5C690EC3EA32}" dt="2025-06-30T14:13:48.061" v="1065" actId="47"/>
        <pc:sldMkLst>
          <pc:docMk/>
          <pc:sldMk cId="1880917490" sldId="2147470250"/>
        </pc:sldMkLst>
      </pc:sldChg>
      <pc:sldChg chg="del">
        <pc:chgData name="Alexandre Zanetti de Almeida" userId="129d4ce6-e715-4d33-b4c4-312f1656225b" providerId="ADAL" clId="{BECA18A6-594E-4578-8AB9-5C690EC3EA32}" dt="2025-06-30T14:13:48.657" v="1066" actId="47"/>
        <pc:sldMkLst>
          <pc:docMk/>
          <pc:sldMk cId="4272279068" sldId="2147470251"/>
        </pc:sldMkLst>
      </pc:sldChg>
      <pc:sldChg chg="del">
        <pc:chgData name="Alexandre Zanetti de Almeida" userId="129d4ce6-e715-4d33-b4c4-312f1656225b" providerId="ADAL" clId="{BECA18A6-594E-4578-8AB9-5C690EC3EA32}" dt="2025-06-18T11:50:54.900" v="8" actId="47"/>
        <pc:sldMkLst>
          <pc:docMk/>
          <pc:sldMk cId="1080730617" sldId="2147470284"/>
        </pc:sldMkLst>
      </pc:sldChg>
      <pc:sldChg chg="addSp modSp del mod">
        <pc:chgData name="Alexandre Zanetti de Almeida" userId="129d4ce6-e715-4d33-b4c4-312f1656225b" providerId="ADAL" clId="{BECA18A6-594E-4578-8AB9-5C690EC3EA32}" dt="2025-06-27T18:21:45.926" v="867" actId="47"/>
        <pc:sldMkLst>
          <pc:docMk/>
          <pc:sldMk cId="4262446273" sldId="2147470285"/>
        </pc:sldMkLst>
      </pc:sldChg>
      <pc:sldChg chg="del">
        <pc:chgData name="Alexandre Zanetti de Almeida" userId="129d4ce6-e715-4d33-b4c4-312f1656225b" providerId="ADAL" clId="{BECA18A6-594E-4578-8AB9-5C690EC3EA32}" dt="2025-06-18T11:50:57.973" v="9" actId="47"/>
        <pc:sldMkLst>
          <pc:docMk/>
          <pc:sldMk cId="3886147896" sldId="2147470286"/>
        </pc:sldMkLst>
      </pc:sldChg>
      <pc:sldChg chg="ord">
        <pc:chgData name="Alexandre Zanetti de Almeida" userId="129d4ce6-e715-4d33-b4c4-312f1656225b" providerId="ADAL" clId="{BECA18A6-594E-4578-8AB9-5C690EC3EA32}" dt="2025-07-24T10:56:48.254" v="2476" actId="20578"/>
        <pc:sldMkLst>
          <pc:docMk/>
          <pc:sldMk cId="3456330198" sldId="2147470287"/>
        </pc:sldMkLst>
      </pc:sldChg>
      <pc:sldChg chg="del">
        <pc:chgData name="Alexandre Zanetti de Almeida" userId="129d4ce6-e715-4d33-b4c4-312f1656225b" providerId="ADAL" clId="{BECA18A6-594E-4578-8AB9-5C690EC3EA32}" dt="2025-06-18T11:51:00.904" v="10" actId="47"/>
        <pc:sldMkLst>
          <pc:docMk/>
          <pc:sldMk cId="3779101396" sldId="2147470290"/>
        </pc:sldMkLst>
      </pc:sldChg>
      <pc:sldChg chg="modSp del mod">
        <pc:chgData name="Alexandre Zanetti de Almeida" userId="129d4ce6-e715-4d33-b4c4-312f1656225b" providerId="ADAL" clId="{BECA18A6-594E-4578-8AB9-5C690EC3EA32}" dt="2025-06-18T11:52:49.325" v="29" actId="47"/>
        <pc:sldMkLst>
          <pc:docMk/>
          <pc:sldMk cId="2942458670" sldId="2147470291"/>
        </pc:sldMkLst>
      </pc:sldChg>
      <pc:sldChg chg="del">
        <pc:chgData name="Alexandre Zanetti de Almeida" userId="129d4ce6-e715-4d33-b4c4-312f1656225b" providerId="ADAL" clId="{BECA18A6-594E-4578-8AB9-5C690EC3EA32}" dt="2025-06-18T11:51:01.947" v="11" actId="47"/>
        <pc:sldMkLst>
          <pc:docMk/>
          <pc:sldMk cId="735740456" sldId="2147470292"/>
        </pc:sldMkLst>
      </pc:sldChg>
      <pc:sldChg chg="addSp modSp del mod">
        <pc:chgData name="Alexandre Zanetti de Almeida" userId="129d4ce6-e715-4d33-b4c4-312f1656225b" providerId="ADAL" clId="{BECA18A6-594E-4578-8AB9-5C690EC3EA32}" dt="2025-06-27T18:24:05.584" v="951" actId="47"/>
        <pc:sldMkLst>
          <pc:docMk/>
          <pc:sldMk cId="3951554011" sldId="2147470293"/>
        </pc:sldMkLst>
      </pc:sldChg>
      <pc:sldChg chg="del">
        <pc:chgData name="Alexandre Zanetti de Almeida" userId="129d4ce6-e715-4d33-b4c4-312f1656225b" providerId="ADAL" clId="{BECA18A6-594E-4578-8AB9-5C690EC3EA32}" dt="2025-06-18T11:51:07.247" v="12" actId="47"/>
        <pc:sldMkLst>
          <pc:docMk/>
          <pc:sldMk cId="3275488672" sldId="2147470294"/>
        </pc:sldMkLst>
      </pc:sldChg>
      <pc:sldChg chg="del">
        <pc:chgData name="Alexandre Zanetti de Almeida" userId="129d4ce6-e715-4d33-b4c4-312f1656225b" providerId="ADAL" clId="{BECA18A6-594E-4578-8AB9-5C690EC3EA32}" dt="2025-06-18T11:51:08.556" v="13" actId="47"/>
        <pc:sldMkLst>
          <pc:docMk/>
          <pc:sldMk cId="538638572" sldId="2147470297"/>
        </pc:sldMkLst>
      </pc:sldChg>
      <pc:sldChg chg="addSp modSp del mod">
        <pc:chgData name="Alexandre Zanetti de Almeida" userId="129d4ce6-e715-4d33-b4c4-312f1656225b" providerId="ADAL" clId="{BECA18A6-594E-4578-8AB9-5C690EC3EA32}" dt="2025-06-30T14:13:42.474" v="1064" actId="47"/>
        <pc:sldMkLst>
          <pc:docMk/>
          <pc:sldMk cId="155112765" sldId="2147470298"/>
        </pc:sldMkLst>
      </pc:sldChg>
      <pc:sldChg chg="addSp delSp modSp new del mod">
        <pc:chgData name="Alexandre Zanetti de Almeida" userId="129d4ce6-e715-4d33-b4c4-312f1656225b" providerId="ADAL" clId="{BECA18A6-594E-4578-8AB9-5C690EC3EA32}" dt="2025-06-20T13:57:50.820" v="572" actId="47"/>
        <pc:sldMkLst>
          <pc:docMk/>
          <pc:sldMk cId="1621631840" sldId="2147470299"/>
        </pc:sldMkLst>
      </pc:sldChg>
      <pc:sldChg chg="addSp delSp modSp add del mod">
        <pc:chgData name="Alexandre Zanetti de Almeida" userId="129d4ce6-e715-4d33-b4c4-312f1656225b" providerId="ADAL" clId="{BECA18A6-594E-4578-8AB9-5C690EC3EA32}" dt="2025-06-27T18:21:49.721" v="868" actId="47"/>
        <pc:sldMkLst>
          <pc:docMk/>
          <pc:sldMk cId="2032801713" sldId="2147470300"/>
        </pc:sldMkLst>
      </pc:sldChg>
      <pc:sldChg chg="addSp delSp modSp add mod modShow">
        <pc:chgData name="Alexandre Zanetti de Almeida" userId="129d4ce6-e715-4d33-b4c4-312f1656225b" providerId="ADAL" clId="{BECA18A6-594E-4578-8AB9-5C690EC3EA32}" dt="2025-07-03T11:26:55.858" v="1876" actId="20577"/>
        <pc:sldMkLst>
          <pc:docMk/>
          <pc:sldMk cId="1632712217" sldId="2147470301"/>
        </pc:sldMkLst>
        <pc:spChg chg="add 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8" creationId="{6C5CB6E1-38D5-CEC7-8511-34A9F0C6DCC1}"/>
          </ac:spMkLst>
        </pc:spChg>
        <pc:spChg chg="mod">
          <ac:chgData name="Alexandre Zanetti de Almeida" userId="129d4ce6-e715-4d33-b4c4-312f1656225b" providerId="ADAL" clId="{BECA18A6-594E-4578-8AB9-5C690EC3EA32}" dt="2025-06-27T18:20:49.688" v="814" actId="20577"/>
          <ac:spMkLst>
            <pc:docMk/>
            <pc:sldMk cId="1632712217" sldId="2147470301"/>
            <ac:spMk id="12" creationId="{89CFBADE-4F12-2255-C97C-4E5F41B0F1FA}"/>
          </ac:spMkLst>
        </pc:spChg>
        <pc:spChg chg="add 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14" creationId="{7FADDCB5-60D6-6865-09F6-FFF0A5B3D429}"/>
          </ac:spMkLst>
        </pc:spChg>
        <pc:spChg chg="mod">
          <ac:chgData name="Alexandre Zanetti de Almeida" userId="129d4ce6-e715-4d33-b4c4-312f1656225b" providerId="ADAL" clId="{BECA18A6-594E-4578-8AB9-5C690EC3EA32}" dt="2025-06-27T18:22:39.976" v="877" actId="6549"/>
          <ac:spMkLst>
            <pc:docMk/>
            <pc:sldMk cId="1632712217" sldId="2147470301"/>
            <ac:spMk id="16" creationId="{0C6A6F76-9013-0250-F386-12A5D2EC7B12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19" creationId="{E16AF86A-B303-4AB6-D177-9A57CDB0A5E0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1" creationId="{8FF9D7EA-81F4-64DD-26DC-4F6E7916CA4F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2" creationId="{3EDC0651-03BE-805B-434D-0020D8C8555C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3" creationId="{9BFEAA66-8CBA-15AE-C843-2D1A0AAA517D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27" creationId="{7BCE7D54-F669-0DBD-5827-36321CD907A1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8" creationId="{CD57396B-887C-5CE1-F40E-D6F0F3E57C8D}"/>
          </ac:spMkLst>
        </pc:spChg>
        <pc:spChg chg="mod">
          <ac:chgData name="Alexandre Zanetti de Almeida" userId="129d4ce6-e715-4d33-b4c4-312f1656225b" providerId="ADAL" clId="{BECA18A6-594E-4578-8AB9-5C690EC3EA32}" dt="2025-06-27T18:21:07.280" v="818"/>
          <ac:spMkLst>
            <pc:docMk/>
            <pc:sldMk cId="1632712217" sldId="2147470301"/>
            <ac:spMk id="29" creationId="{DCC9B0EE-7ECC-4459-69CF-DF31F5E465A9}"/>
          </ac:spMkLst>
        </pc:spChg>
        <pc:spChg chg="mod">
          <ac:chgData name="Alexandre Zanetti de Almeida" userId="129d4ce6-e715-4d33-b4c4-312f1656225b" providerId="ADAL" clId="{BECA18A6-594E-4578-8AB9-5C690EC3EA32}" dt="2025-07-03T11:26:55.858" v="1876" actId="20577"/>
          <ac:spMkLst>
            <pc:docMk/>
            <pc:sldMk cId="1632712217" sldId="2147470301"/>
            <ac:spMk id="30" creationId="{D303E229-5125-C25F-1E8B-B6E4FC0DD90C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36" creationId="{F564EAC3-5ACF-9A9B-9AC0-7EAC1CFDF5B0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37" creationId="{65EE4F8D-FB4F-3880-4AA2-98A9581B7211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42" creationId="{4E060F5B-14C4-795F-78CD-D4687F64C571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47" creationId="{B1D795D6-DC47-E0E3-FC27-F509DBE461D3}"/>
          </ac:spMkLst>
        </pc:spChg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1783460189" sldId="2147470302"/>
        </pc:sldMkLst>
        <pc:spChg chg="mod">
          <ac:chgData name="Alexandre Zanetti de Almeida" userId="129d4ce6-e715-4d33-b4c4-312f1656225b" providerId="ADAL" clId="{BECA18A6-594E-4578-8AB9-5C690EC3EA32}" dt="2025-06-27T18:22:16.724" v="873" actId="1076"/>
          <ac:spMkLst>
            <pc:docMk/>
            <pc:sldMk cId="1783460189" sldId="2147470302"/>
            <ac:spMk id="4" creationId="{9E4DDB46-213F-F41B-E5FF-ABFE3CAC1B49}"/>
          </ac:spMkLst>
        </pc:spChg>
        <pc:spChg chg="mod">
          <ac:chgData name="Alexandre Zanetti de Almeida" userId="129d4ce6-e715-4d33-b4c4-312f1656225b" providerId="ADAL" clId="{BECA18A6-594E-4578-8AB9-5C690EC3EA32}" dt="2025-06-27T18:22:54.282" v="881" actId="6549"/>
          <ac:spMkLst>
            <pc:docMk/>
            <pc:sldMk cId="1783460189" sldId="2147470302"/>
            <ac:spMk id="16" creationId="{52946977-0670-DC65-C382-6C5732031F4D}"/>
          </ac:spMkLst>
        </pc:spChg>
        <pc:spChg chg="mod">
          <ac:chgData name="Alexandre Zanetti de Almeida" userId="129d4ce6-e715-4d33-b4c4-312f1656225b" providerId="ADAL" clId="{BECA18A6-594E-4578-8AB9-5C690EC3EA32}" dt="2025-06-27T18:23:58.509" v="950" actId="20577"/>
          <ac:spMkLst>
            <pc:docMk/>
            <pc:sldMk cId="1783460189" sldId="2147470302"/>
            <ac:spMk id="23" creationId="{B5FF8776-0410-62F1-C55C-183C1CE90858}"/>
          </ac:spMkLst>
        </pc:spChg>
        <pc:spChg chg="mod">
          <ac:chgData name="Alexandre Zanetti de Almeida" userId="129d4ce6-e715-4d33-b4c4-312f1656225b" providerId="ADAL" clId="{BECA18A6-594E-4578-8AB9-5C690EC3EA32}" dt="2025-06-27T18:23:02.889" v="882"/>
          <ac:spMkLst>
            <pc:docMk/>
            <pc:sldMk cId="1783460189" sldId="2147470302"/>
            <ac:spMk id="28" creationId="{B5AF40AB-C85E-DC84-088C-57F6164E4E0E}"/>
          </ac:spMkLst>
        </pc:spChg>
        <pc:spChg chg="mod">
          <ac:chgData name="Alexandre Zanetti de Almeida" userId="129d4ce6-e715-4d33-b4c4-312f1656225b" providerId="ADAL" clId="{BECA18A6-594E-4578-8AB9-5C690EC3EA32}" dt="2025-06-27T18:23:17.496" v="884"/>
          <ac:spMkLst>
            <pc:docMk/>
            <pc:sldMk cId="1783460189" sldId="2147470302"/>
            <ac:spMk id="29" creationId="{8D1C2D31-6EDA-F9C4-4D41-BC53CF761157}"/>
          </ac:spMkLst>
        </pc:spChg>
        <pc:spChg chg="mod">
          <ac:chgData name="Alexandre Zanetti de Almeida" userId="129d4ce6-e715-4d33-b4c4-312f1656225b" providerId="ADAL" clId="{BECA18A6-594E-4578-8AB9-5C690EC3EA32}" dt="2025-06-27T18:23:43.409" v="941" actId="5793"/>
          <ac:spMkLst>
            <pc:docMk/>
            <pc:sldMk cId="1783460189" sldId="2147470302"/>
            <ac:spMk id="30" creationId="{88DDE1F4-BABB-6CE9-1778-428C4D71E43D}"/>
          </ac:spMkLst>
        </pc:spChg>
        <pc:grpChg chg="add mod">
          <ac:chgData name="Alexandre Zanetti de Almeida" userId="129d4ce6-e715-4d33-b4c4-312f1656225b" providerId="ADAL" clId="{BECA18A6-594E-4578-8AB9-5C690EC3EA32}" dt="2025-06-27T18:22:16.724" v="873" actId="1076"/>
          <ac:grpSpMkLst>
            <pc:docMk/>
            <pc:sldMk cId="1783460189" sldId="2147470302"/>
            <ac:grpSpMk id="3" creationId="{4CDFB589-D84B-A12D-92D1-2619810775BD}"/>
          </ac:grpSpMkLst>
        </pc:grpChg>
        <pc:picChg chg="mod">
          <ac:chgData name="Alexandre Zanetti de Almeida" userId="129d4ce6-e715-4d33-b4c4-312f1656225b" providerId="ADAL" clId="{BECA18A6-594E-4578-8AB9-5C690EC3EA32}" dt="2025-06-27T18:22:16.724" v="873" actId="1076"/>
          <ac:picMkLst>
            <pc:docMk/>
            <pc:sldMk cId="1783460189" sldId="2147470302"/>
            <ac:picMk id="6" creationId="{0C47D69E-898D-4C93-B50B-1863B5506A8C}"/>
          </ac:picMkLst>
        </pc:picChg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3660087686" sldId="2147470303"/>
        </pc:sldMkLst>
        <pc:spChg chg="mod">
          <ac:chgData name="Alexandre Zanetti de Almeida" userId="129d4ce6-e715-4d33-b4c4-312f1656225b" providerId="ADAL" clId="{BECA18A6-594E-4578-8AB9-5C690EC3EA32}" dt="2025-06-30T14:13:36.988" v="1063" actId="6549"/>
          <ac:spMkLst>
            <pc:docMk/>
            <pc:sldMk cId="3660087686" sldId="2147470303"/>
            <ac:spMk id="12" creationId="{CDB95CB9-17E2-12E9-6CDB-21E389A7B5D2}"/>
          </ac:spMkLst>
        </pc:spChg>
        <pc:spChg chg="mod">
          <ac:chgData name="Alexandre Zanetti de Almeida" userId="129d4ce6-e715-4d33-b4c4-312f1656225b" providerId="ADAL" clId="{BECA18A6-594E-4578-8AB9-5C690EC3EA32}" dt="2025-06-30T14:10:28.359" v="1008" actId="20577"/>
          <ac:spMkLst>
            <pc:docMk/>
            <pc:sldMk cId="3660087686" sldId="2147470303"/>
            <ac:spMk id="16" creationId="{2D3E6C24-C600-EDF5-FE96-CC9CA4E0660D}"/>
          </ac:spMkLst>
        </pc:spChg>
        <pc:spChg chg="mod">
          <ac:chgData name="Alexandre Zanetti de Almeida" userId="129d4ce6-e715-4d33-b4c4-312f1656225b" providerId="ADAL" clId="{BECA18A6-594E-4578-8AB9-5C690EC3EA32}" dt="2025-06-30T14:11:34.816" v="1027"/>
          <ac:spMkLst>
            <pc:docMk/>
            <pc:sldMk cId="3660087686" sldId="2147470303"/>
            <ac:spMk id="21" creationId="{47D183D6-A530-5278-BEA3-F43FF8BE8ECF}"/>
          </ac:spMkLst>
        </pc:spChg>
        <pc:spChg chg="mod">
          <ac:chgData name="Alexandre Zanetti de Almeida" userId="129d4ce6-e715-4d33-b4c4-312f1656225b" providerId="ADAL" clId="{BECA18A6-594E-4578-8AB9-5C690EC3EA32}" dt="2025-06-30T14:11:25.378" v="1020" actId="6549"/>
          <ac:spMkLst>
            <pc:docMk/>
            <pc:sldMk cId="3660087686" sldId="2147470303"/>
            <ac:spMk id="22" creationId="{BAD4C948-5468-221D-166A-CD899DB564DE}"/>
          </ac:spMkLst>
        </pc:spChg>
        <pc:spChg chg="mod">
          <ac:chgData name="Alexandre Zanetti de Almeida" userId="129d4ce6-e715-4d33-b4c4-312f1656225b" providerId="ADAL" clId="{BECA18A6-594E-4578-8AB9-5C690EC3EA32}" dt="2025-06-30T14:10:58.976" v="1014"/>
          <ac:spMkLst>
            <pc:docMk/>
            <pc:sldMk cId="3660087686" sldId="2147470303"/>
            <ac:spMk id="23" creationId="{16A9AEA1-9A4C-F748-69D8-B0CB2EBECEA8}"/>
          </ac:spMkLst>
        </pc:spChg>
        <pc:spChg chg="mod">
          <ac:chgData name="Alexandre Zanetti de Almeida" userId="129d4ce6-e715-4d33-b4c4-312f1656225b" providerId="ADAL" clId="{BECA18A6-594E-4578-8AB9-5C690EC3EA32}" dt="2025-06-30T14:12:02.554" v="1035" actId="20577"/>
          <ac:spMkLst>
            <pc:docMk/>
            <pc:sldMk cId="3660087686" sldId="2147470303"/>
            <ac:spMk id="28" creationId="{D7342A6D-203F-01A7-208F-97F700E5374A}"/>
          </ac:spMkLst>
        </pc:spChg>
        <pc:spChg chg="mod">
          <ac:chgData name="Alexandre Zanetti de Almeida" userId="129d4ce6-e715-4d33-b4c4-312f1656225b" providerId="ADAL" clId="{BECA18A6-594E-4578-8AB9-5C690EC3EA32}" dt="2025-06-30T14:13:17.304" v="1052"/>
          <ac:spMkLst>
            <pc:docMk/>
            <pc:sldMk cId="3660087686" sldId="2147470303"/>
            <ac:spMk id="29" creationId="{0B89EA06-D9D1-02B6-09A4-800E17FDE657}"/>
          </ac:spMkLst>
        </pc:spChg>
        <pc:spChg chg="mod">
          <ac:chgData name="Alexandre Zanetti de Almeida" userId="129d4ce6-e715-4d33-b4c4-312f1656225b" providerId="ADAL" clId="{BECA18A6-594E-4578-8AB9-5C690EC3EA32}" dt="2025-06-30T14:13:25.174" v="1055" actId="6549"/>
          <ac:spMkLst>
            <pc:docMk/>
            <pc:sldMk cId="3660087686" sldId="2147470303"/>
            <ac:spMk id="30" creationId="{EE523B33-5D0C-4EE1-CD90-3C28B6202B61}"/>
          </ac:spMkLst>
        </pc:spChg>
        <pc:spChg chg="mod">
          <ac:chgData name="Alexandre Zanetti de Almeida" userId="129d4ce6-e715-4d33-b4c4-312f1656225b" providerId="ADAL" clId="{BECA18A6-594E-4578-8AB9-5C690EC3EA32}" dt="2025-06-30T14:10:10.201" v="997"/>
          <ac:spMkLst>
            <pc:docMk/>
            <pc:sldMk cId="3660087686" sldId="2147470303"/>
            <ac:spMk id="50" creationId="{E3D28539-E8A2-BC1C-EFB5-5DFA8DA2835B}"/>
          </ac:spMkLst>
        </pc:spChg>
        <pc:grpChg chg="add mod">
          <ac:chgData name="Alexandre Zanetti de Almeida" userId="129d4ce6-e715-4d33-b4c4-312f1656225b" providerId="ADAL" clId="{BECA18A6-594E-4578-8AB9-5C690EC3EA32}" dt="2025-06-30T14:10:10.201" v="997"/>
          <ac:grpSpMkLst>
            <pc:docMk/>
            <pc:sldMk cId="3660087686" sldId="2147470303"/>
            <ac:grpSpMk id="49" creationId="{65EA2985-6653-DD7B-D1FA-3B0D1FA96E72}"/>
          </ac:grpSpMkLst>
        </pc:grpChg>
        <pc:picChg chg="mod">
          <ac:chgData name="Alexandre Zanetti de Almeida" userId="129d4ce6-e715-4d33-b4c4-312f1656225b" providerId="ADAL" clId="{BECA18A6-594E-4578-8AB9-5C690EC3EA32}" dt="2025-06-30T14:10:10.201" v="997"/>
          <ac:picMkLst>
            <pc:docMk/>
            <pc:sldMk cId="3660087686" sldId="2147470303"/>
            <ac:picMk id="51" creationId="{68A52A51-4BEF-5E74-D4CF-50920BB6580F}"/>
          </ac:picMkLst>
        </pc:picChg>
      </pc:sldChg>
      <pc:sldChg chg="addSp delSp modSp add mod">
        <pc:chgData name="Alexandre Zanetti de Almeida" userId="129d4ce6-e715-4d33-b4c4-312f1656225b" providerId="ADAL" clId="{BECA18A6-594E-4578-8AB9-5C690EC3EA32}" dt="2025-07-24T10:40:27.824" v="2425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BECA18A6-594E-4578-8AB9-5C690EC3EA32}" dt="2025-07-23T10:53:37.419" v="1892" actId="108"/>
          <ac:spMkLst>
            <pc:docMk/>
            <pc:sldMk cId="1940508740" sldId="2147470304"/>
            <ac:spMk id="16" creationId="{EC4455BA-D3E9-9793-68CD-C3583A4E6304}"/>
          </ac:spMkLst>
        </pc:spChg>
        <pc:spChg chg="mod">
          <ac:chgData name="Alexandre Zanetti de Almeida" userId="129d4ce6-e715-4d33-b4c4-312f1656225b" providerId="ADAL" clId="{BECA18A6-594E-4578-8AB9-5C690EC3EA32}" dt="2025-07-24T10:40:27.824" v="2425"/>
          <ac:spMkLst>
            <pc:docMk/>
            <pc:sldMk cId="1940508740" sldId="2147470304"/>
            <ac:spMk id="21" creationId="{97F45830-8E04-1A06-389C-4A5003A45C7F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2" creationId="{7E22B0EB-5D24-34FE-BC08-2E5A9B6E10FD}"/>
          </ac:spMkLst>
        </pc:spChg>
        <pc:spChg chg="mod">
          <ac:chgData name="Alexandre Zanetti de Almeida" userId="129d4ce6-e715-4d33-b4c4-312f1656225b" providerId="ADAL" clId="{BECA18A6-594E-4578-8AB9-5C690EC3EA32}" dt="2025-07-02T11:36:46.773" v="1122"/>
          <ac:spMkLst>
            <pc:docMk/>
            <pc:sldMk cId="1940508740" sldId="2147470304"/>
            <ac:spMk id="23" creationId="{3399BC71-F48A-62FF-1FC5-6A7E292DA2C6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8" creationId="{C52088BD-E241-32F3-D401-EA5F267A951F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9" creationId="{A433A465-D5E8-03C4-2424-D9AA99A3E94C}"/>
          </ac:spMkLst>
        </pc:spChg>
        <pc:spChg chg="mod">
          <ac:chgData name="Alexandre Zanetti de Almeida" userId="129d4ce6-e715-4d33-b4c4-312f1656225b" providerId="ADAL" clId="{BECA18A6-594E-4578-8AB9-5C690EC3EA32}" dt="2025-07-02T11:36:40.624" v="1119" actId="20577"/>
          <ac:spMkLst>
            <pc:docMk/>
            <pc:sldMk cId="1940508740" sldId="2147470304"/>
            <ac:spMk id="30" creationId="{640B18F6-8CEE-8FE5-1117-4A2A7F1768E8}"/>
          </ac:spMkLst>
        </pc:spChg>
        <pc:spChg chg="mod">
          <ac:chgData name="Alexandre Zanetti de Almeida" userId="129d4ce6-e715-4d33-b4c4-312f1656225b" providerId="ADAL" clId="{BECA18A6-594E-4578-8AB9-5C690EC3EA32}" dt="2025-07-02T11:36:16.602" v="1103" actId="20577"/>
          <ac:spMkLst>
            <pc:docMk/>
            <pc:sldMk cId="1940508740" sldId="2147470304"/>
            <ac:spMk id="37" creationId="{6EA3331D-8170-4033-7FD7-8D7085001518}"/>
          </ac:spMkLst>
        </pc:spChg>
        <pc:spChg chg="mod">
          <ac:chgData name="Alexandre Zanetti de Almeida" userId="129d4ce6-e715-4d33-b4c4-312f1656225b" providerId="ADAL" clId="{BECA18A6-594E-4578-8AB9-5C690EC3EA32}" dt="2025-07-02T11:36:19.544" v="1106" actId="20577"/>
          <ac:spMkLst>
            <pc:docMk/>
            <pc:sldMk cId="1940508740" sldId="2147470304"/>
            <ac:spMk id="38" creationId="{7FCF2251-6B96-D512-69BE-5B4B2B282FE6}"/>
          </ac:spMkLst>
        </pc:spChg>
        <pc:spChg chg="mod">
          <ac:chgData name="Alexandre Zanetti de Almeida" userId="129d4ce6-e715-4d33-b4c4-312f1656225b" providerId="ADAL" clId="{BECA18A6-594E-4578-8AB9-5C690EC3EA32}" dt="2025-07-02T11:36:22.471" v="1109" actId="20577"/>
          <ac:spMkLst>
            <pc:docMk/>
            <pc:sldMk cId="1940508740" sldId="2147470304"/>
            <ac:spMk id="39" creationId="{4C406243-F2AD-E765-32EA-157C426A3367}"/>
          </ac:spMkLst>
        </pc:spChg>
        <pc:spChg chg="mod">
          <ac:chgData name="Alexandre Zanetti de Almeida" userId="129d4ce6-e715-4d33-b4c4-312f1656225b" providerId="ADAL" clId="{BECA18A6-594E-4578-8AB9-5C690EC3EA32}" dt="2025-07-02T11:36:07.651" v="1094" actId="20577"/>
          <ac:spMkLst>
            <pc:docMk/>
            <pc:sldMk cId="1940508740" sldId="2147470304"/>
            <ac:spMk id="45" creationId="{3EE45CA7-D754-3378-89B9-6728A8248A6D}"/>
          </ac:spMkLst>
        </pc:spChg>
        <pc:spChg chg="mod">
          <ac:chgData name="Alexandre Zanetti de Almeida" userId="129d4ce6-e715-4d33-b4c4-312f1656225b" providerId="ADAL" clId="{BECA18A6-594E-4578-8AB9-5C690EC3EA32}" dt="2025-07-02T11:36:10.272" v="1097" actId="20577"/>
          <ac:spMkLst>
            <pc:docMk/>
            <pc:sldMk cId="1940508740" sldId="2147470304"/>
            <ac:spMk id="46" creationId="{4C0109DF-10BC-8CD5-A0AB-400E2905828E}"/>
          </ac:spMkLst>
        </pc:spChg>
        <pc:spChg chg="mod">
          <ac:chgData name="Alexandre Zanetti de Almeida" userId="129d4ce6-e715-4d33-b4c4-312f1656225b" providerId="ADAL" clId="{BECA18A6-594E-4578-8AB9-5C690EC3EA32}" dt="2025-07-02T11:36:12.992" v="1100" actId="20577"/>
          <ac:spMkLst>
            <pc:docMk/>
            <pc:sldMk cId="1940508740" sldId="2147470304"/>
            <ac:spMk id="47" creationId="{E517AE3D-5DC9-9850-2AD5-0F0398C0D692}"/>
          </ac:spMkLst>
        </pc:spChg>
      </pc:sldChg>
      <pc:sldChg chg="addSp delSp modSp add mod">
        <pc:chgData name="Alexandre Zanetti de Almeida" userId="129d4ce6-e715-4d33-b4c4-312f1656225b" providerId="ADAL" clId="{BECA18A6-594E-4578-8AB9-5C690EC3EA32}" dt="2025-07-23T10:53:44.633" v="1893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13" creationId="{16D2B9C8-3938-0557-7D05-644F94617DC2}"/>
          </ac:spMkLst>
        </pc:spChg>
        <pc:spChg chg="mod">
          <ac:chgData name="Alexandre Zanetti de Almeida" userId="129d4ce6-e715-4d33-b4c4-312f1656225b" providerId="ADAL" clId="{BECA18A6-594E-4578-8AB9-5C690EC3EA32}" dt="2025-07-23T10:53:44.633" v="1893"/>
          <ac:spMkLst>
            <pc:docMk/>
            <pc:sldMk cId="666269910" sldId="2147470305"/>
            <ac:spMk id="16" creationId="{E22DBF5B-D60A-683E-6EEC-8AA9185B7D62}"/>
          </ac:spMkLst>
        </pc:spChg>
        <pc:spChg chg="mod">
          <ac:chgData name="Alexandre Zanetti de Almeida" userId="129d4ce6-e715-4d33-b4c4-312f1656225b" providerId="ADAL" clId="{BECA18A6-594E-4578-8AB9-5C690EC3EA32}" dt="2025-07-02T11:38:29.087" v="1171" actId="20577"/>
          <ac:spMkLst>
            <pc:docMk/>
            <pc:sldMk cId="666269910" sldId="2147470305"/>
            <ac:spMk id="49" creationId="{43DF6B22-3E91-C067-5409-8A30BD51BCD4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0" creationId="{6105204D-BA0B-72FD-2BE4-90C13A8363AA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3" creationId="{D17E591F-1B2D-E9C4-DED9-4534D2C0F731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5" creationId="{8492E134-105F-D8D3-65C3-AD3C18FAAB0F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8" creationId="{92F76E10-7670-2451-6C63-6CDCCE95A2CE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67" creationId="{62F7B321-F20E-D98D-9D0C-25586CBD2818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69" creationId="{3B2E668E-A7F8-B224-31AB-08EB36B6B8FA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73" creationId="{2B50D29F-E327-0FE6-3C03-F96D4577CF4F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75" creationId="{B905FA01-8349-0971-F2DF-31C3EF970E0F}"/>
          </ac:spMkLst>
        </pc:spChg>
      </pc:sldChg>
      <pc:sldChg chg="addSp delSp modSp add mod">
        <pc:chgData name="Alexandre Zanetti de Almeida" userId="129d4ce6-e715-4d33-b4c4-312f1656225b" providerId="ADAL" clId="{BECA18A6-594E-4578-8AB9-5C690EC3EA32}" dt="2025-07-24T10:56:48.096" v="2475" actId="20577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4" creationId="{BC0E6D19-441B-73B1-BB37-62140F2F6991}"/>
          </ac:spMkLst>
        </pc:spChg>
        <pc:spChg chg="mod">
          <ac:chgData name="Alexandre Zanetti de Almeida" userId="129d4ce6-e715-4d33-b4c4-312f1656225b" providerId="ADAL" clId="{BECA18A6-594E-4578-8AB9-5C690EC3EA32}" dt="2025-07-24T10:56:48.096" v="2475" actId="20577"/>
          <ac:spMkLst>
            <pc:docMk/>
            <pc:sldMk cId="2230261567" sldId="2147470306"/>
            <ac:spMk id="11" creationId="{B8C5B9B3-F82B-CDA6-0CEF-1C7C1C0EC81E}"/>
          </ac:spMkLst>
        </pc:spChg>
        <pc:spChg chg="mod">
          <ac:chgData name="Alexandre Zanetti de Almeida" userId="129d4ce6-e715-4d33-b4c4-312f1656225b" providerId="ADAL" clId="{BECA18A6-594E-4578-8AB9-5C690EC3EA32}" dt="2025-07-23T10:53:49.114" v="1894"/>
          <ac:spMkLst>
            <pc:docMk/>
            <pc:sldMk cId="2230261567" sldId="2147470306"/>
            <ac:spMk id="16" creationId="{BC28EA8F-0B64-5CFD-35E7-8571FA4E816E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5" creationId="{F2F59243-343D-EA82-253E-D4E5E9BAC1B8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6" creationId="{1ABE4715-E03E-ACCA-0C50-6C033CA1E1DD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8" creationId="{71356357-76F9-44EA-5A38-DCF522576C88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2" creationId="{DB6E0BA9-C19F-5B6E-91A0-9EEC4C38DEB7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6" creationId="{B0470F95-B712-8F18-93FA-7E41ACF722E4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7" creationId="{123D6B85-14BB-6D57-1BE2-BF7599B59CFC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0" creationId="{A136EF49-3E01-36BA-086A-4CC6CB603D31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2" creationId="{C56586C4-CC4F-6879-82AF-5987643258D9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5" creationId="{5465B40A-C796-EDDB-8E57-3C671DF8E578}"/>
          </ac:spMkLst>
        </pc:spChg>
      </pc:sldChg>
      <pc:sldChg chg="add">
        <pc:chgData name="Alexandre Zanetti de Almeida" userId="129d4ce6-e715-4d33-b4c4-312f1656225b" providerId="ADAL" clId="{BECA18A6-594E-4578-8AB9-5C690EC3EA32}" dt="2025-07-23T10:54:01.403" v="1900" actId="2890"/>
        <pc:sldMkLst>
          <pc:docMk/>
          <pc:sldMk cId="229337627" sldId="2147470307"/>
        </pc:sldMkLst>
      </pc:sldChg>
      <pc:sldChg chg="new del ord">
        <pc:chgData name="Alexandre Zanetti de Almeida" userId="129d4ce6-e715-4d33-b4c4-312f1656225b" providerId="ADAL" clId="{BECA18A6-594E-4578-8AB9-5C690EC3EA32}" dt="2025-07-23T10:53:59.447" v="1899" actId="680"/>
        <pc:sldMkLst>
          <pc:docMk/>
          <pc:sldMk cId="469112513" sldId="2147470307"/>
        </pc:sldMkLst>
      </pc:sldChg>
    </pc:docChg>
  </pc:docChgLst>
  <pc:docChgLst>
    <pc:chgData name="Alexandre Zanetti de Almeida" userId="129d4ce6-e715-4d33-b4c4-312f1656225b" providerId="ADAL" clId="{72D30366-B7DE-47DF-B27F-990419579B41}"/>
    <pc:docChg chg="custSel modSld">
      <pc:chgData name="Alexandre Zanetti de Almeida" userId="129d4ce6-e715-4d33-b4c4-312f1656225b" providerId="ADAL" clId="{72D30366-B7DE-47DF-B27F-990419579B41}" dt="2025-08-13T12:03:21.234" v="35" actId="6549"/>
      <pc:docMkLst>
        <pc:docMk/>
      </pc:docMkLst>
      <pc:sldChg chg="modSp mod">
        <pc:chgData name="Alexandre Zanetti de Almeida" userId="129d4ce6-e715-4d33-b4c4-312f1656225b" providerId="ADAL" clId="{72D30366-B7DE-47DF-B27F-990419579B41}" dt="2025-08-13T12:02:07.543" v="13" actId="5793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72D30366-B7DE-47DF-B27F-990419579B41}" dt="2025-08-13T12:02:07.543" v="13" actId="5793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72D30366-B7DE-47DF-B27F-990419579B41}" dt="2025-08-13T12:02:25.482" v="27" actId="108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72D30366-B7DE-47DF-B27F-990419579B41}" dt="2025-08-13T12:02:25.482" v="27" actId="108"/>
          <ac:spMkLst>
            <pc:docMk/>
            <pc:sldMk cId="1940508740" sldId="2147470304"/>
            <ac:spMk id="16" creationId="{EC4455BA-D3E9-9793-68CD-C3583A4E6304}"/>
          </ac:spMkLst>
        </pc:spChg>
      </pc:sldChg>
      <pc:sldChg chg="modSp mod">
        <pc:chgData name="Alexandre Zanetti de Almeida" userId="129d4ce6-e715-4d33-b4c4-312f1656225b" providerId="ADAL" clId="{72D30366-B7DE-47DF-B27F-990419579B41}" dt="2025-08-13T12:02:43.185" v="31" actId="6549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72D30366-B7DE-47DF-B27F-990419579B41}" dt="2025-08-13T12:02:43.185" v="31" actId="6549"/>
          <ac:spMkLst>
            <pc:docMk/>
            <pc:sldMk cId="666269910" sldId="2147470305"/>
            <ac:spMk id="16" creationId="{E22DBF5B-D60A-683E-6EEC-8AA9185B7D62}"/>
          </ac:spMkLst>
        </pc:spChg>
      </pc:sldChg>
      <pc:sldChg chg="modSp mod">
        <pc:chgData name="Alexandre Zanetti de Almeida" userId="129d4ce6-e715-4d33-b4c4-312f1656225b" providerId="ADAL" clId="{72D30366-B7DE-47DF-B27F-990419579B41}" dt="2025-08-13T12:03:21.234" v="35" actId="6549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72D30366-B7DE-47DF-B27F-990419579B41}" dt="2025-08-13T12:03:21.234" v="35" actId="6549"/>
          <ac:spMkLst>
            <pc:docMk/>
            <pc:sldMk cId="2230261567" sldId="2147470306"/>
            <ac:spMk id="16" creationId="{BC28EA8F-0B64-5CFD-35E7-8571FA4E816E}"/>
          </ac:spMkLst>
        </pc:spChg>
      </pc:sldChg>
    </pc:docChg>
  </pc:docChgLst>
  <pc:docChgLst>
    <pc:chgData name="Alexandre Zanetti de Almeida" userId="129d4ce6-e715-4d33-b4c4-312f1656225b" providerId="ADAL" clId="{CB4A5929-CD66-40A2-A9E2-11FC22D64308}"/>
    <pc:docChg chg="undo custSel modSld">
      <pc:chgData name="Alexandre Zanetti de Almeida" userId="129d4ce6-e715-4d33-b4c4-312f1656225b" providerId="ADAL" clId="{CB4A5929-CD66-40A2-A9E2-11FC22D64308}" dt="2025-08-19T12:48:45.062" v="331"/>
      <pc:docMkLst>
        <pc:docMk/>
      </pc:docMkLst>
      <pc:sldChg chg="modSp mod">
        <pc:chgData name="Alexandre Zanetti de Almeida" userId="129d4ce6-e715-4d33-b4c4-312f1656225b" providerId="ADAL" clId="{CB4A5929-CD66-40A2-A9E2-11FC22D64308}" dt="2025-08-19T12:48:32.729" v="329" actId="6549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CB4A5929-CD66-40A2-A9E2-11FC22D64308}" dt="2025-08-19T12:44:46.540" v="76" actId="6549"/>
          <ac:spMkLst>
            <pc:docMk/>
            <pc:sldMk cId="1940508740" sldId="2147470304"/>
            <ac:spMk id="21" creationId="{97F45830-8E04-1A06-389C-4A5003A45C7F}"/>
          </ac:spMkLst>
        </pc:spChg>
        <pc:spChg chg="mod">
          <ac:chgData name="Alexandre Zanetti de Almeida" userId="129d4ce6-e715-4d33-b4c4-312f1656225b" providerId="ADAL" clId="{CB4A5929-CD66-40A2-A9E2-11FC22D64308}" dt="2025-08-19T12:48:32.729" v="329" actId="6549"/>
          <ac:spMkLst>
            <pc:docMk/>
            <pc:sldMk cId="1940508740" sldId="2147470304"/>
            <ac:spMk id="22" creationId="{7E22B0EB-5D24-34FE-BC08-2E5A9B6E10FD}"/>
          </ac:spMkLst>
        </pc:spChg>
      </pc:sldChg>
      <pc:sldChg chg="modSp">
        <pc:chgData name="Alexandre Zanetti de Almeida" userId="129d4ce6-e715-4d33-b4c4-312f1656225b" providerId="ADAL" clId="{CB4A5929-CD66-40A2-A9E2-11FC22D64308}" dt="2025-08-19T12:48:41.231" v="330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CB4A5929-CD66-40A2-A9E2-11FC22D64308}" dt="2025-08-19T12:48:41.231" v="330"/>
          <ac:spMkLst>
            <pc:docMk/>
            <pc:sldMk cId="666269910" sldId="2147470305"/>
            <ac:spMk id="50" creationId="{6105204D-BA0B-72FD-2BE4-90C13A8363AA}"/>
          </ac:spMkLst>
        </pc:spChg>
      </pc:sldChg>
      <pc:sldChg chg="modSp">
        <pc:chgData name="Alexandre Zanetti de Almeida" userId="129d4ce6-e715-4d33-b4c4-312f1656225b" providerId="ADAL" clId="{CB4A5929-CD66-40A2-A9E2-11FC22D64308}" dt="2025-08-19T12:48:45.062" v="331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CB4A5929-CD66-40A2-A9E2-11FC22D64308}" dt="2025-08-19T12:48:45.062" v="331"/>
          <ac:spMkLst>
            <pc:docMk/>
            <pc:sldMk cId="2230261567" sldId="2147470306"/>
            <ac:spMk id="13" creationId="{4D54B93D-E70C-11A6-3E95-3C2DA364153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reports.rchland.ibm.com/cgi-bin/sf?TS018425621" TargetMode="External"/><Relationship Id="rId7" Type="http://schemas.openxmlformats.org/officeDocument/2006/relationships/hyperlink" Target="https://reports.rchland.ibm.com/cgi-bin/sf?TS019032254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8898555" TargetMode="External"/><Relationship Id="rId5" Type="http://schemas.openxmlformats.org/officeDocument/2006/relationships/hyperlink" Target="https://reports.rchland.ibm.com/cgi-bin/sf?TS018895482" TargetMode="External"/><Relationship Id="rId4" Type="http://schemas.openxmlformats.org/officeDocument/2006/relationships/hyperlink" Target="https://reports.rchland.ibm.com/cgi-bin/sf?TS018634572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2" Type="http://schemas.openxmlformats.org/officeDocument/2006/relationships/hyperlink" Target="https://ibm.biz/avaliacao-cs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bm.biz/linkedin-integra-x" TargetMode="External"/><Relationship Id="rId5" Type="http://schemas.openxmlformats.org/officeDocument/2006/relationships/image" Target="../media/image24.png"/><Relationship Id="rId4" Type="http://schemas.openxmlformats.org/officeDocument/2006/relationships/hyperlink" Target="https://ibm.biz/ibm-integra-x" TargetMode="External"/><Relationship Id="rId9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6.png"/><Relationship Id="rId3" Type="http://schemas.openxmlformats.org/officeDocument/2006/relationships/image" Target="../media/image28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5.png"/><Relationship Id="rId2" Type="http://schemas.openxmlformats.org/officeDocument/2006/relationships/image" Target="../media/image27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4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3.png"/><Relationship Id="rId28" Type="http://schemas.openxmlformats.org/officeDocument/2006/relationships/image" Target="../media/image38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2.png"/><Relationship Id="rId27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3.png"/><Relationship Id="rId4" Type="http://schemas.openxmlformats.org/officeDocument/2006/relationships/hyperlink" Target="https://www.ibm.com/support/pages/lifecycle/search?q=ibm%20mq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5.png"/><Relationship Id="rId4" Type="http://schemas.openxmlformats.org/officeDocument/2006/relationships/hyperlink" Target="https://www.ibm.com/support/pages/lifecycle/search?q=ibm%20event%20automation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br-pt/cloud-paks" TargetMode="External"/><Relationship Id="rId13" Type="http://schemas.openxmlformats.org/officeDocument/2006/relationships/image" Target="../media/image48.png"/><Relationship Id="rId3" Type="http://schemas.openxmlformats.org/officeDocument/2006/relationships/hyperlink" Target="https://www.ibm.com/products/app-connect" TargetMode="External"/><Relationship Id="rId7" Type="http://schemas.openxmlformats.org/officeDocument/2006/relationships/hyperlink" Target="https://www.ibm.com/products/datapower-gateway" TargetMode="External"/><Relationship Id="rId12" Type="http://schemas.openxmlformats.org/officeDocument/2006/relationships/hyperlink" Target="https://www.ibm.com/docs/en/rpa/23.0?topic=server-installing-rpa-other-cloud-paks" TargetMode="External"/><Relationship Id="rId2" Type="http://schemas.openxmlformats.org/officeDocument/2006/relationships/hyperlink" Target="https://www.ibm.com/products/api-connect" TargetMode="External"/><Relationship Id="rId16" Type="http://schemas.openxmlformats.org/officeDocument/2006/relationships/hyperlink" Target="https://www.ibm.com/products/process-mining" TargetMode="Externa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www.ibm.com/products/aspera" TargetMode="External"/><Relationship Id="rId11" Type="http://schemas.openxmlformats.org/officeDocument/2006/relationships/hyperlink" Target="https://www.ibm.com/docs/pt-br/process-mining/1.14.4?topic=installation-installing-process-mining-in-cloud-pak" TargetMode="External"/><Relationship Id="rId5" Type="http://schemas.openxmlformats.org/officeDocument/2006/relationships/hyperlink" Target="https://www.ibm.com/products/mq" TargetMode="External"/><Relationship Id="rId15" Type="http://schemas.openxmlformats.org/officeDocument/2006/relationships/hyperlink" Target="https://www.ibm.com/br-pt/products/robotic-process-automation" TargetMode="External"/><Relationship Id="rId10" Type="http://schemas.openxmlformats.org/officeDocument/2006/relationships/hyperlink" Target="https://www.ibm.com/docs/en/cloud-paks/cp-integration/2023.4?topic=planning-licensing" TargetMode="External"/><Relationship Id="rId4" Type="http://schemas.openxmlformats.org/officeDocument/2006/relationships/hyperlink" Target="https://www.ibm.com/products/event-automation" TargetMode="External"/><Relationship Id="rId9" Type="http://schemas.openxmlformats.org/officeDocument/2006/relationships/hyperlink" Target="https://www.ibm.com/integration" TargetMode="External"/><Relationship Id="rId1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1FB80CAE-56CE-204B-59E2-470DD5621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ED6049-C5E9-C4E2-9AFE-E17E79244F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5CC9460-4912-3906-F099-586FECD86DEB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1675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13 Agosto 2025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54A3E54-B978-F6A0-F24D-91B575DF7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4519" y="1711729"/>
            <a:ext cx="3670499" cy="3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76DFEE-F4BB-95C4-F0C3-B156092B46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863D7D75-A156-1E92-AD4D-82E0EE5CD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BEC1AD-D2D1-AFC7-2254-5F3EA73F2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0DBD65-3E48-364A-752F-29D4DCFE1E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EA1B64-D547-4765-76FF-895A2C0FB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38D38A-0E35-2419-43F2-CC79ECDED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C320F9-D238-CEC2-06C5-E3ADD953483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DA2687-7046-5E94-AB55-A269BF86973C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2DBF5B-D60A-683E-6EEC-8AA9185B7D6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Pedrer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2/07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3/07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3/08/2026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FC70FF1F-AB8A-C3B2-3120-9FA37E18432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A92704-32FA-CBC6-7540-D7F34F23DE68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6C8B37D-FE8F-E057-9F55-7257FA6D11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A6E9F4D1-C88F-A69F-FE26-C259B916EE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E90B62B-273E-6DDF-F310-20DEC4160055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F907BC2-6B16-19E4-C74D-29F5149B5BA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6D2B9C8-3938-0557-7D05-644F94617D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CC490E-0E1A-FC1E-E307-CC4DBE4E37F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3DF6B22-3E91-C067-5409-8A30BD51BCD4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105204D-BA0B-72FD-2BE4-90C13A8363A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BABF55A-1777-D3AF-690B-9C1FDD1D0209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EEB4F97-70A8-0BE2-DD0A-7377CD9762D1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FD7BA099-C91A-8F4C-5E56-FA24A679E4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2E668E-A7F8-B224-31AB-08EB36B6B8F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800C6AD3-70DB-8301-D9F2-B1FF6019A09A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4DF34705-6976-F9FE-691C-A9CB9133FA4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2B50D29F-E327-0FE6-3C03-F96D4577CF4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F48D90B7-37C2-36FA-AB09-FE197D2CAAF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B905FA01-8349-0971-F2DF-31C3EF970E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4E840AED-C1F2-2607-ED75-42E8A8CFC1A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17E591F-1B2D-E9C4-DED9-4534D2C0F73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2152007-8B01-4E85-0E99-C0452B4D988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492E134-105F-D8D3-65C3-AD3C18FAAB0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8268944-49C7-E857-A8D6-9154D0C3A4E5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2E7351D-23B5-5478-0DA4-98595EEBA6B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2F76E10-7670-2451-6C63-6CDCCE95A2CE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D18B550-6D50-4499-C093-DE9BE26F1D5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1E9D868E-864C-8688-9551-BA61610DA1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1E4B8CF9-7A38-A17D-3E91-203ABBB7B53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453E6159-0141-F739-95C1-33271832FB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C9ABE26-64AA-EC00-9A15-77C529323AB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393A6C7C-45E9-B3DD-7409-1F88608A11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C870B983-0753-10A3-F971-1233457166D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62F7B321-F20E-D98D-9D0C-25586CBD281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6A635C99-EF6C-9C07-38E8-0D1F29972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6269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E0FA59-C236-7A5A-5825-D18EF39AB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BCB0810D-B281-CB21-EDB2-EF4636337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E6043-0757-924D-13C0-C52754B222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1B176D-45ED-DD4E-D320-7FFF34AF27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94671D-07DC-9673-4843-F8C4EC8C2E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24AFA-CF74-4BB6-AA1F-269737E0C2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B95CB9-17E2-12E9-6CDB-21E389A7B5D2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D9BBF5-8413-A3F8-55C6-8267E0E24F1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3E6C24-C600-EDF5-FE96-CC9CA4E0660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2FB6F2-82AE-2F5B-3DB9-00D912B5414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FCA8D6-2E18-AD0B-7C7D-FD794E6C10E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F8E85BD-0218-3558-4011-6DA5782B490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203FBFF-04F4-695D-ACFC-FF35DB8DE6C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183D6-A530-5278-BEA3-F43FF8BE8EC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AD4C948-5468-221D-166A-CD899DB564DE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6A9AEA1-9A4C-F748-69D8-B0CB2EBECEA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09DE3D9-4918-793F-EC2A-23176A6D2CD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E9910524-32CE-2FFD-70DD-239E05F021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2045F14F-B6F5-A25E-C8AA-A6E524342205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ECC9496-8620-EB9B-D59F-8FDC4DD803F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C86DFE-5BC6-8DF4-F925-12480151789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FF2EBB0-481D-417F-2371-23F635DF82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C4C96C9-93A5-D3A4-B34C-A16D6B99603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A4EBD6E4-E132-BCA3-3E61-869D4FDC16F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5BB8C42A-4C9A-956F-F803-8C6922BF5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819D3D-606B-8121-1905-39DCF5F5C9F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F61606C-FFB3-D80E-7DA5-5E7C29A943D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98C0AD-BF80-A291-8C3B-DCCADFD675E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342A6D-203F-01A7-208F-97F700E5374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 explicou pedido do banco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89EA06-D9D1-02B6-09A4-800E17FDE6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  Erick OK 09/05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apresentação EL  OK 14/05</a:t>
              </a:r>
              <a:endParaRPr lang="en-US" sz="7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E523B33-5D0C-4EE1-CD90-3C28B6202B61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67BD042-0EFF-625A-9A60-09BFA3C04F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B8EEF3BA-C344-FD27-DDB5-50FCCD6037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D917A5CA-BE8A-0935-D1B3-85E1B8FCA3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DD715DF8-A8E3-DE54-46B0-7489C5485766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09A0A21-FA9D-A6D8-EE8F-74CF1AF9718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1F5147F9-495D-D73E-9DA9-ABBABC5427F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176EBC6A-6FA2-E316-1FBC-F829B19AEBB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7CEA072-9FC4-3A41-261C-9CB9D4771D6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A159C64-A2E8-4033-5802-50DA0D2CC6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D92BCCD2-3A2A-D451-79A1-DF46834229A9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5EA2985-6653-DD7B-D1FA-3B0D1FA96E72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3D28539-E8A2-BC1C-EFB5-5DFA8DA283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8A52A51-4BEF-5E74-D4CF-50920BB658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600876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9B9236-B046-4EC7-804C-AB1AE5514E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39CA88D3-F832-5184-5496-2D2594BE4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F597EC-9719-12E6-75CF-C7FE2B2F40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C902EA-DD59-234F-7CFE-7841DA19C2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DD72B3-BE35-63EF-1B49-5A18D0505A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6AB6A5-B744-BF36-94A0-A336E1420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685B8A-90C4-0171-7F1F-2BE4587F2D3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CC7AF5-640E-9A43-0679-3853A71FB6C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28EA8F-0B64-5CFD-35E7-8571FA4E816E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2/07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3/07/2025</a:t>
            </a:r>
          </a:p>
          <a:p>
            <a:pPr marL="0" lvl="2" algn="ctr"/>
            <a:r>
              <a:rPr lang="pt-BR" sz="12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3/08/2026</a:t>
            </a:r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72124D6D-70FB-00B4-CC5D-500DCEB30BC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E84C1AD-2030-5870-E72E-B75F275B80A7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1E19879-8C79-CE36-40B0-F58C030C371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31113F5-E5F1-8A24-AE7A-956D4C95195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8D268AB-965C-C250-0D1F-C33F1BB0A14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8CD687C-FAEC-B1C5-7638-CADBEEDEEC85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C0E6D19-441B-73B1-BB37-62140F2F699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4691070-C4A2-77C8-57A1-32ED7503EE65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C5B9B3-F82B-CDA6-0CEF-1C7C1C0EC81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ando agenda para iniciar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54B93D-E70C-11A6-3E95-3C2DA3641534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C9D90A7-DE59-24DD-2095-E5827D4C1051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B6EF360E-5AD4-0AC4-420A-ADDB408F8E3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DB609496-3787-5C29-6A70-896DB79B4B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28828DA6-E3C4-DEFF-29A8-278C4241E4B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A136EF49-3E01-36BA-086A-4CC6CB603D3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AFF4BF7F-AEDE-C43E-6405-887AE04FCAD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8AEB7F53-5E30-E2A9-FABC-C978CACA8A1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B24973B0-3C89-ADFC-CEF4-24E0210809B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5465B40A-C796-EDDB-8E57-3C671DF8E57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C56586C4-CC4F-6879-82AF-5987643258D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5BE1507-87E2-E462-7592-11298DFD0FC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3EA027F-86F1-880D-2BB9-52F5811F64C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2F59243-343D-EA82-253E-D4E5E9BAC1B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ABE4715-E03E-ACCA-0C50-6C033CA1E1D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658D124-A563-2567-E45F-D4F10E93AC8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1356357-76F9-44EA-5A38-DCF522576C8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81F310B8-40B6-550A-7EC0-B4741CD3DE2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B25BA25A-3EA3-9709-FFBB-A37D6FF929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B06347A0-B8D4-5C93-D81F-F926AE2B756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DB6E0BA9-C19F-5B6E-91A0-9EEC4C38DEB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A676BFAC-7028-7ADD-6BA5-7AE50342147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4A4F1AD1-6873-7B6C-492B-25327078E8C5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B0470F95-B712-8F18-93FA-7E41ACF722E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123D6B85-14BB-6D57-1BE2-BF7599B59CFC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8C9611E9-FA37-6585-0C52-729C2459B755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0261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E7707FC-0DF0-756C-DBE7-E07333B71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5147BB0-BE53-9F58-DCA5-5ECEB6FEA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D9C84D-63FC-1CD5-F423-E6C90BE85B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92BF30-5C6D-F7D1-1B30-44A92EF902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8808DC-9D7E-CCC3-DC14-EE2300298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C054CB-1740-C720-0783-3F135CD27B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FD0CBFA3-FB99-F5AF-7080-CE9BB051EA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B4CBA59E-EE64-84EA-2D15-7B446CBDE1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762354"/>
              </p:ext>
            </p:extLst>
          </p:nvPr>
        </p:nvGraphicFramePr>
        <p:xfrm>
          <a:off x="271572" y="979164"/>
          <a:ext cx="10153650" cy="12973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3579">
                  <a:extLst>
                    <a:ext uri="{9D8B030D-6E8A-4147-A177-3AD203B41FA5}">
                      <a16:colId xmlns:a16="http://schemas.microsoft.com/office/drawing/2014/main" val="3145613429"/>
                    </a:ext>
                  </a:extLst>
                </a:gridCol>
                <a:gridCol w="928373">
                  <a:extLst>
                    <a:ext uri="{9D8B030D-6E8A-4147-A177-3AD203B41FA5}">
                      <a16:colId xmlns:a16="http://schemas.microsoft.com/office/drawing/2014/main" val="108644887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610481453"/>
                    </a:ext>
                  </a:extLst>
                </a:gridCol>
                <a:gridCol w="252136">
                  <a:extLst>
                    <a:ext uri="{9D8B030D-6E8A-4147-A177-3AD203B41FA5}">
                      <a16:colId xmlns:a16="http://schemas.microsoft.com/office/drawing/2014/main" val="3814621343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147828085"/>
                    </a:ext>
                  </a:extLst>
                </a:gridCol>
                <a:gridCol w="1154113">
                  <a:extLst>
                    <a:ext uri="{9D8B030D-6E8A-4147-A177-3AD203B41FA5}">
                      <a16:colId xmlns:a16="http://schemas.microsoft.com/office/drawing/2014/main" val="3165954247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718490208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35269843"/>
                    </a:ext>
                  </a:extLst>
                </a:gridCol>
                <a:gridCol w="1052810">
                  <a:extLst>
                    <a:ext uri="{9D8B030D-6E8A-4147-A177-3AD203B41FA5}">
                      <a16:colId xmlns:a16="http://schemas.microsoft.com/office/drawing/2014/main" val="2541432101"/>
                    </a:ext>
                  </a:extLst>
                </a:gridCol>
                <a:gridCol w="626929">
                  <a:extLst>
                    <a:ext uri="{9D8B030D-6E8A-4147-A177-3AD203B41FA5}">
                      <a16:colId xmlns:a16="http://schemas.microsoft.com/office/drawing/2014/main" val="1869919414"/>
                    </a:ext>
                  </a:extLst>
                </a:gridCol>
                <a:gridCol w="796037">
                  <a:extLst>
                    <a:ext uri="{9D8B030D-6E8A-4147-A177-3AD203B41FA5}">
                      <a16:colId xmlns:a16="http://schemas.microsoft.com/office/drawing/2014/main" val="4171522205"/>
                    </a:ext>
                  </a:extLst>
                </a:gridCol>
                <a:gridCol w="958928">
                  <a:extLst>
                    <a:ext uri="{9D8B030D-6E8A-4147-A177-3AD203B41FA5}">
                      <a16:colId xmlns:a16="http://schemas.microsoft.com/office/drawing/2014/main" val="3168858158"/>
                    </a:ext>
                  </a:extLst>
                </a:gridCol>
                <a:gridCol w="919780">
                  <a:extLst>
                    <a:ext uri="{9D8B030D-6E8A-4147-A177-3AD203B41FA5}">
                      <a16:colId xmlns:a16="http://schemas.microsoft.com/office/drawing/2014/main" val="245105544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0783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"/>
                        </a:rPr>
                        <a:t>TS0184256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296564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86345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618390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889548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2703321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889855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345246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90322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41349778"/>
                  </a:ext>
                </a:extLst>
              </a:tr>
            </a:tbl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2F973CF5-E546-9B4F-DEF6-39F4E09AB846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Cases</a:t>
            </a:r>
            <a:endParaRPr lang="en-US" sz="3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3301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4738240-91FB-7AF4-F9C0-CD69A859EF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F9EBC2-F1B7-B4DB-EBE2-1011D1E70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093975-CB02-AE6F-C1E0-0579A2D07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CEAF40-FBCE-78D2-2B72-2CD4DF0CA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AFA16E-76FF-DCF0-5F29-9A0716AE1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EE3443B3-8146-56B9-7464-DACB6B1FC9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2116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3F06668-E22E-1CA6-9FDA-1F2D6722D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2" y="21160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1F507B-DF78-9C3D-2CB9-2841BFA4E4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" y="21161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39C61B-8C2F-A007-FF32-59E06D5C20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8" y="21160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00C61E6-3B9B-F878-C732-6E9F00CD6F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49" y="21160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A647C99-AC79-FF8F-AD87-ADED38591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8" y="315699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pt-BR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valiação do CSM &amp; Grupos de discussõ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valuation &amp; Group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52B8BFF-9797-E153-6FCB-05811AAF91AB}"/>
              </a:ext>
            </a:extLst>
          </p:cNvPr>
          <p:cNvGrpSpPr/>
          <p:nvPr/>
        </p:nvGrpSpPr>
        <p:grpSpPr>
          <a:xfrm>
            <a:off x="1132339" y="2736610"/>
            <a:ext cx="3564355" cy="3774741"/>
            <a:chOff x="654361" y="2392188"/>
            <a:chExt cx="3564355" cy="377474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87A738-661B-76F4-98D3-92E75A59F30B}"/>
                </a:ext>
              </a:extLst>
            </p:cNvPr>
            <p:cNvSpPr>
              <a:spLocks/>
            </p:cNvSpPr>
            <p:nvPr/>
          </p:nvSpPr>
          <p:spPr>
            <a:xfrm>
              <a:off x="654361" y="2392188"/>
              <a:ext cx="3564355" cy="37747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r>
                <a:rPr lang="pt-BR" dirty="0">
                  <a:solidFill>
                    <a:schemeClr val="tx1"/>
                  </a:solidFill>
                  <a:hlinkClick r:id="rId2"/>
                </a:rPr>
                <a:t>https://ibm.biz/avaliacao-csm</a:t>
              </a:r>
              <a:r>
                <a:rPr lang="pt-BR" dirty="0">
                  <a:solidFill>
                    <a:schemeClr val="tx1"/>
                  </a:solidFill>
                </a:rPr>
                <a:t>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F67D07C-2612-280B-2770-132F6ECAE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6544" y="3142467"/>
              <a:ext cx="2470910" cy="2481653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B23F29B-B1B5-8B04-1E3C-F0D776D1EB4F}"/>
              </a:ext>
            </a:extLst>
          </p:cNvPr>
          <p:cNvGrpSpPr/>
          <p:nvPr/>
        </p:nvGrpSpPr>
        <p:grpSpPr>
          <a:xfrm>
            <a:off x="5485136" y="2049687"/>
            <a:ext cx="5781821" cy="3220279"/>
            <a:chOff x="4210106" y="2196804"/>
            <a:chExt cx="7521102" cy="409076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9AC44EF-8808-9CAA-DFF2-C01BBC7BCC05}"/>
                </a:ext>
              </a:extLst>
            </p:cNvPr>
            <p:cNvSpPr>
              <a:spLocks/>
            </p:cNvSpPr>
            <p:nvPr/>
          </p:nvSpPr>
          <p:spPr>
            <a:xfrm>
              <a:off x="4210106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IBM </a:t>
              </a:r>
              <a:r>
                <a:rPr lang="pt-BR" sz="1600" dirty="0" err="1">
                  <a:solidFill>
                    <a:schemeClr val="tx1"/>
                  </a:solidFill>
                </a:rPr>
                <a:t>User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r>
                <a:rPr lang="pt-BR" sz="1600" dirty="0" err="1">
                  <a:solidFill>
                    <a:schemeClr val="tx1"/>
                  </a:solidFill>
                </a:rPr>
                <a:t>Group</a:t>
              </a:r>
              <a:r>
                <a:rPr lang="pt-BR" sz="1600" dirty="0">
                  <a:solidFill>
                    <a:schemeClr val="tx1"/>
                  </a:solidFill>
                </a:rPr>
                <a:t> Community</a:t>
              </a:r>
            </a:p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4"/>
                </a:rPr>
                <a:t>https://ibm.biz/ibm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F7D47A7-5CED-4BA5-2CF7-25F87B3EE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65143" y="2919641"/>
              <a:ext cx="2648151" cy="2693611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72A1A97-648C-052C-E2C3-4BF4920E755E}"/>
                </a:ext>
              </a:extLst>
            </p:cNvPr>
            <p:cNvSpPr>
              <a:spLocks/>
            </p:cNvSpPr>
            <p:nvPr/>
          </p:nvSpPr>
          <p:spPr>
            <a:xfrm>
              <a:off x="7970657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LinkedIn</a:t>
              </a: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6"/>
                </a:rPr>
                <a:t>https://ibm.biz/linkedin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0F8F408-6F90-13C7-4F2E-E7E02EEA1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01648" y="2934689"/>
              <a:ext cx="2716344" cy="2670881"/>
            </a:xfrm>
            <a:prstGeom prst="rect">
              <a:avLst/>
            </a:prstGeom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67BC115-3D9E-B251-BA13-16E0C695823D}"/>
              </a:ext>
            </a:extLst>
          </p:cNvPr>
          <p:cNvSpPr/>
          <p:nvPr/>
        </p:nvSpPr>
        <p:spPr>
          <a:xfrm>
            <a:off x="5484545" y="5269966"/>
            <a:ext cx="5783004" cy="1241385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ticipe da nossa comunidade                                       a</a:t>
            </a:r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0E10A7D-3B33-7B5E-CBDE-F00874E34C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t="27196" r="25457" b="25384"/>
          <a:stretch>
            <a:fillRect/>
          </a:stretch>
        </p:blipFill>
        <p:spPr>
          <a:xfrm>
            <a:off x="8800633" y="5443174"/>
            <a:ext cx="2128898" cy="78169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94C8EFC6-F954-FCA5-9587-21554E8A0B1D}"/>
              </a:ext>
            </a:extLst>
          </p:cNvPr>
          <p:cNvSpPr/>
          <p:nvPr/>
        </p:nvSpPr>
        <p:spPr>
          <a:xfrm>
            <a:off x="1132339" y="2049687"/>
            <a:ext cx="3564355" cy="686923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ode me avaliar?</a:t>
            </a:r>
            <a:endParaRPr lang="en-US" dirty="0"/>
          </a:p>
        </p:txBody>
      </p:sp>
      <p:pic>
        <p:nvPicPr>
          <p:cNvPr id="33" name="logo2-04.png" descr="logo2-04.png">
            <a:extLst>
              <a:ext uri="{FF2B5EF4-FFF2-40B4-BE49-F238E27FC236}">
                <a16:creationId xmlns:a16="http://schemas.microsoft.com/office/drawing/2014/main" id="{C4992519-0D15-A13F-7BB8-18C4ADFA51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7990" y="2898162"/>
            <a:ext cx="2404477" cy="711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683BEF-64CC-3BD6-6511-E153B38024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DB74849-7C7B-E14F-A4A8-658510257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D9E17B-3F4B-6E33-9E3E-0D52E9ED9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154AF4-FB68-D910-748B-4AAFDBC547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4D9459-3C64-F46D-D442-9EC3A172BD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522587-0735-F20E-9E94-5DB1197B9A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F81FE24-D273-5ECF-61FB-1EFEA6664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53B8F9-F138-D4FB-C7E3-37FF65BDC90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658E8B5-CFCC-6597-A539-559E5C0D73D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25F192A-2F9C-28F0-9478-CD4A895DAF60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20ED8-71A4-1B17-EBA5-76D775E840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92085FB-ACB2-FF32-673A-F303C2F8289E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92F9AD1-3719-868E-B463-135BAD2EB1F4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3F5670-FBC3-1C77-B4AD-704C3598A1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42BF1AE-7E18-3FE6-25CB-79DD65C81B33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222DD14-3C61-B704-E862-79A687BD61D1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4EFD9DF-8F2E-4F55-0200-0AA948776EA1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D8CDA5AE-23C6-61AA-1B4F-0853A1FBC9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CDC082A-9D2F-DF2A-7662-A6F10B0F5B8C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C15BB23-E682-C5AB-6ABC-81796504370C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098B102-8B48-FA82-16D2-1A4528575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A5B17CB-D9AC-8DC6-437F-31C584205A79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9E937DC-DB98-5C9B-6C6B-FB40F05212DE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7A30EFA1-6EAB-BC22-8582-A414C80365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8FAD2341-3A70-9616-6BCC-E06B3DE6C37A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90267AA-2CAA-D304-51EC-4B2D366AB597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4AE9FF7E-B32D-A1A4-BBF8-50CC6418C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0685BC1-49D0-0A1F-7A2C-32349E365586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AA1A2BDA-914A-3AC7-2038-001204B6E7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AC36F529-343A-ACFE-7FE3-ED0DB3D26523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51B0A244-340D-154C-51A0-DECC08B98AD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1CD54BE-F4AF-9EA8-85E1-75D016107526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F664094-C2CB-2355-15E1-24FFA1C7407C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E4FB085-DEE3-8B5E-6431-4F3B5C32AFCE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5E1E7A4-9103-384A-9BF8-29810D3F2F9D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9963B97-80D6-2830-54EB-54C4B4A54ED1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959D74B-69C9-EC77-59F8-3BA9E0349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822714C-F298-2BC1-7D21-8AC0D3BDD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B2A582C7-7ECC-2FA7-A453-30C046467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5C7BE3F6-A14D-FC21-2985-87FD35056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478261F5-0365-C072-C138-FECC58D12E31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BD29278-E036-693C-21DB-BDC058595346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2D136AB7-93D8-E1E5-9104-B4403507BA1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37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EEB53BB-ADE1-67F3-A517-DF503BA85A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3D98EF-F834-2478-D8DC-4BDAFEAC68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B8270C-2F29-B3A4-6CDA-596843EB1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3B6545-67FD-746C-0311-AF590B0C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8DD988-30F5-E455-7D20-46BF4FCA4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BFA85D3A-996D-45E2-F061-B992E256B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62FCA1F-3CDA-12BF-8A91-144EBFEBC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656FF8-08C7-5315-CF45-41F740632D8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1A694A3-64F6-FBF9-AF16-9364AE50D005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E1AD71B-C206-D420-6C6C-B493266E9C8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AB995A6-8160-6D3A-ACB5-BC8F864C37A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87EF3B2-7B5A-8553-2CC9-EBB6AC3629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C1F3DB9-38B7-0D8F-AC63-FFEB16B5CC74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D7F1ECFC-D578-C1B4-7609-8217C3C835BA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071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EBD9567-45A2-4B1A-F52D-526889EE3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0B42A3A-03F1-F86F-9CF5-8BE4DC38D8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2D8567-B0C9-CCEC-AE85-95C7DB16E2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98C72B-4C97-D59D-06BA-37740A139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88699C-076F-9379-B988-56644EC4D5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73FE2C-4918-882D-CAB8-18FB7CA85B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3386B2-B147-07F5-1001-836D909478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EE0B93-74DF-8B44-1545-F9A72E98FD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11" name="logo2-04.png" descr="logo2-04.png">
            <a:extLst>
              <a:ext uri="{FF2B5EF4-FFF2-40B4-BE49-F238E27FC236}">
                <a16:creationId xmlns:a16="http://schemas.microsoft.com/office/drawing/2014/main" id="{6F0C1967-B468-3AC5-96A7-BBD25E104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19C18EA3-8D3E-99F8-9994-5693B1A9E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CC27B-BAA7-57AC-05DD-858C271FAF33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EDA8B90-A453-24C3-57F2-F7A2006261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B21F820-2354-7F9F-72F7-3DF0F0EE00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6C1B145-FF8F-DED4-F380-B12F10F179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90316C0-A0E0-B8A1-12B2-DA7111E0132B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4601E79-906F-4AA3-7ACB-02A8192551CF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165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F65997-ACAE-BB55-97AD-11941A96D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5D6FC64-D9D4-800A-61CE-195E8AC83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4060DE-E969-DDA8-70D9-F5C6193D0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3FBAC6-0F8A-5819-623B-C9A724A05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F24D0C-6EF2-6EF5-5F6C-70670897F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4F06B5-BA39-33D3-2373-8ACB14CCB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51713BBD-5B91-5421-17F1-D38D288194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51C9E3F-B34A-C3D7-BAC1-2C04894A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EB768B-C01F-B3B4-38EC-5A2512F3BE40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A20081-F0AC-BD2E-7A00-0383C5924B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8F48FEC-A9B5-CB3B-EDEB-B412AF390B2E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D38AE92-EEDC-3CAC-FE9B-2354E210AD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42569FA-5257-42BF-28D1-E78222468705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E8CC49-BDDB-D8AB-F2B3-CF2D9415FAF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1033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0578CB-78FB-5397-1359-5C5C755F3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E658CE5-AE70-ED8E-11F9-CC2F726D0B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5ACD1-A7C0-E2EB-0BAA-737BCD3F37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E15A48-36D4-ABEF-56C2-7D386A2C3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76446B-0F96-82E9-4AF2-15CA65045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EE8C95-0E36-173E-8715-1B9AC3E7AB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65AA21A-AA04-DDF5-3B08-F22159C8A9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D21E17-EDD4-55A6-4382-2043371C0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82BDF9-8106-69CE-F2C1-88EF934FB324}"/>
              </a:ext>
            </a:extLst>
          </p:cNvPr>
          <p:cNvSpPr txBox="1"/>
          <p:nvPr/>
        </p:nvSpPr>
        <p:spPr>
          <a:xfrm>
            <a:off x="184458" y="6385290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event%20automation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10EFD7-95AD-D6AF-E480-620E0858FD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4E65B8-897D-9DDE-F814-9365CFDB6A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7351AA-E240-6693-7627-CBC4713B0C6D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BCB73C42-95E9-6521-881F-CDBBBA269525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71132BA-A0E4-47B0-9845-170FD0DBAB88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549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Desafi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halleng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1ACF8142-98EA-AF53-4F42-8034F371AE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40C3F43-9D38-1BC5-1F15-763D139D0C2B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8D3786-4ED6-9D34-D62C-F0D7BA399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065DB45-1BA4-9DDD-437B-FB4C313620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30FDFF-0A0A-D7E5-7D3A-1A12DE67077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1FB654B2-4AC7-5014-C83E-D111AE9E34F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2F5B2A-B84E-A339-183E-030DB97A5973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127D3129-AEA6-2F9D-BDA0-D48B78EB37E2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324F74C-9FAC-8B9A-CB15-F49196AA7674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23408A4-E10E-0D74-5A45-F1154A09E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E00831B-CC24-C88F-99C4-B6F0B25FF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C8BB79-7CBD-2D5D-1DC0-A4F31B2317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738B0D-E51B-4590-081E-0A3FAD5DC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1EA051-DFFB-DBCA-CBD5-D8AB1B110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980ABE-E143-B259-89D0-21DB45215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4DD34A-EE30-866E-AC27-0DD2358CD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4BF46C4-C34E-00A2-7C26-3736D80E62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CB79F7-D492-D37E-0F1D-DE7063C56357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BBF180-1475-56C7-7C5C-6A251D8DD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ECDCC7-5AC4-A90D-470A-65F30E84F7E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0159C9-4405-7FC8-6EE3-82EDB9C27C07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3A5B81B-E020-9DB3-F53E-0254E8E5D4E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7F1292C-A259-D462-B00D-759A4CDD20FC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6139AF2E-64BE-66B1-20B9-31D9C27BC9CF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86031C-A614-F9CF-CC1B-12540572A001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15541D-8502-D170-F591-58A4269A13AD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314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8C82F91-A99C-B77C-7FF1-5714DEE4AF23}"/>
              </a:ext>
            </a:extLst>
          </p:cNvPr>
          <p:cNvSpPr txBox="1"/>
          <p:nvPr/>
        </p:nvSpPr>
        <p:spPr>
          <a:xfrm>
            <a:off x="791927" y="417441"/>
            <a:ext cx="283094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4E927D-93FF-0470-9135-AF827355FA62}"/>
              </a:ext>
            </a:extLst>
          </p:cNvPr>
          <p:cNvSpPr txBox="1"/>
          <p:nvPr/>
        </p:nvSpPr>
        <p:spPr>
          <a:xfrm>
            <a:off x="794743" y="2626382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I Connect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DB2708-1E2A-019A-57B4-BDBF6479F45C}"/>
              </a:ext>
            </a:extLst>
          </p:cNvPr>
          <p:cNvSpPr txBox="1"/>
          <p:nvPr/>
        </p:nvSpPr>
        <p:spPr>
          <a:xfrm>
            <a:off x="794743" y="3097105"/>
            <a:ext cx="20921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p Conne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B2AB7B-09B9-5BF5-B713-9378BA5679AF}"/>
              </a:ext>
            </a:extLst>
          </p:cNvPr>
          <p:cNvSpPr txBox="1"/>
          <p:nvPr/>
        </p:nvSpPr>
        <p:spPr>
          <a:xfrm>
            <a:off x="794743" y="3567828"/>
            <a:ext cx="27765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Event Autom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ECE741-EC5F-40C0-9DE2-0BC8AE862767}"/>
              </a:ext>
            </a:extLst>
          </p:cNvPr>
          <p:cNvSpPr txBox="1"/>
          <p:nvPr/>
        </p:nvSpPr>
        <p:spPr>
          <a:xfrm>
            <a:off x="794743" y="4038551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MQ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901656-5693-1F0E-B7CD-76A4C0CDED6A}"/>
              </a:ext>
            </a:extLst>
          </p:cNvPr>
          <p:cNvSpPr txBox="1"/>
          <p:nvPr/>
        </p:nvSpPr>
        <p:spPr>
          <a:xfrm>
            <a:off x="794743" y="4513975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spera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A7C2AC-EC43-DC92-0B6E-EA878264C49D}"/>
              </a:ext>
            </a:extLst>
          </p:cNvPr>
          <p:cNvSpPr txBox="1"/>
          <p:nvPr/>
        </p:nvSpPr>
        <p:spPr>
          <a:xfrm>
            <a:off x="791927" y="4946697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DataPower® Gatewa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D7BDBDE-713C-4705-6471-3B875432DF6E}"/>
              </a:ext>
            </a:extLst>
          </p:cNvPr>
          <p:cNvSpPr txBox="1"/>
          <p:nvPr/>
        </p:nvSpPr>
        <p:spPr>
          <a:xfrm>
            <a:off x="4808997" y="6481785"/>
            <a:ext cx="609407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" dirty="0">
                <a:hlinkClick r:id="rId8"/>
              </a:rPr>
              <a:t>https://www.ibm.com/br-pt/cloud-paks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9"/>
              </a:rPr>
              <a:t>https://www.ibm.com/integration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0"/>
              </a:rPr>
              <a:t>https://www.ibm.com/docs/en/cloud-paks/cp-integration/2023.4?topic=planning-licensing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1"/>
              </a:rPr>
              <a:t>https://www.ibm.com/docs/pt-br/process-mining/1.14.4?topic=installation-installing-process-mining-in-cloud-pak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2"/>
              </a:rPr>
              <a:t>https://www.ibm.com/docs/en/rpa/23.0?topic=server-installing-rpa-other-cloud-paks</a:t>
            </a:r>
            <a:r>
              <a:rPr lang="en-US" sz="300" dirty="0"/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BCB8FFE-3EF7-3666-F487-709B18C0424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51619" y="957963"/>
            <a:ext cx="6094070" cy="261174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592560-4EA0-8DCF-B855-891EBA94A62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51619" y="3569707"/>
            <a:ext cx="6635014" cy="27047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402067-BB51-1666-D2D9-E4E602211FC6}"/>
              </a:ext>
            </a:extLst>
          </p:cNvPr>
          <p:cNvSpPr txBox="1"/>
          <p:nvPr/>
        </p:nvSpPr>
        <p:spPr>
          <a:xfrm>
            <a:off x="791926" y="5815145"/>
            <a:ext cx="40260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Robotic Process Autom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0FC890-56D3-0B9B-F953-E940310095B4}"/>
              </a:ext>
            </a:extLst>
          </p:cNvPr>
          <p:cNvSpPr txBox="1"/>
          <p:nvPr/>
        </p:nvSpPr>
        <p:spPr>
          <a:xfrm>
            <a:off x="791927" y="6265715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Process Mi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592B4B-7614-2E4C-D54B-D1454B263905}"/>
              </a:ext>
            </a:extLst>
          </p:cNvPr>
          <p:cNvSpPr txBox="1"/>
          <p:nvPr/>
        </p:nvSpPr>
        <p:spPr>
          <a:xfrm>
            <a:off x="496005" y="542160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Foundational Servic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66939F-EB1D-B1A3-D5A2-33BACFB77688}"/>
              </a:ext>
            </a:extLst>
          </p:cNvPr>
          <p:cNvSpPr txBox="1"/>
          <p:nvPr/>
        </p:nvSpPr>
        <p:spPr>
          <a:xfrm>
            <a:off x="496005" y="227569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CP4I</a:t>
            </a:r>
          </a:p>
        </p:txBody>
      </p:sp>
    </p:spTree>
    <p:extLst>
      <p:ext uri="{BB962C8B-B14F-4D97-AF65-F5344CB8AC3E}">
        <p14:creationId xmlns:p14="http://schemas.microsoft.com/office/powerpoint/2010/main" val="21599369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12CA610-F49F-5B35-900C-4862CDFCD5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14211" y="2934568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118A30-CDC0-181B-CDB8-3B05005195A9}"/>
              </a:ext>
            </a:extLst>
          </p:cNvPr>
          <p:cNvSpPr txBox="1"/>
          <p:nvPr/>
        </p:nvSpPr>
        <p:spPr>
          <a:xfrm>
            <a:off x="8044711" y="2884757"/>
            <a:ext cx="41472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6D0D826A-6F39-D0EE-04D3-545CCFC54E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81A353-04C2-2079-A350-22195C0F3E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351335-ACCA-407D-2133-0B8F6D8350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AEB9F1-944B-111E-97B9-AE0F8FEB40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199113-DB86-49F1-CF86-0FFE5FCF70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logo2-04.png" descr="logo2-04.png">
            <a:extLst>
              <a:ext uri="{FF2B5EF4-FFF2-40B4-BE49-F238E27FC236}">
                <a16:creationId xmlns:a16="http://schemas.microsoft.com/office/drawing/2014/main" id="{ADCC0433-7471-43DB-D315-C9B2B9AC1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216B6E15-6710-78CE-6239-76900022B6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566DA1-048B-75AB-A64C-E8A362E94D25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Futuro breve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pic>
        <p:nvPicPr>
          <p:cNvPr id="2052" name="Picture 4" descr="IBM Cloud Pak for Integration | IBM CP4I">
            <a:extLst>
              <a:ext uri="{FF2B5EF4-FFF2-40B4-BE49-F238E27FC236}">
                <a16:creationId xmlns:a16="http://schemas.microsoft.com/office/drawing/2014/main" id="{85988C5C-9FAE-ED82-4C8D-3A15BF1ED1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8755712-55D1-FFBF-878E-33B00D18A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A8D76E9-BB08-D4B3-3A0C-3E58C2E3059C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F87E82-F6B4-1B67-2587-F9EC4DD510D1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7D4C51C-A353-A970-8159-2D198FB56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D502B921-57EA-889E-8C02-DA31F29C67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34A41C-9EC9-1AAC-0BE4-80EC551670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5CB6E1-38D5-CEC7-8511-34A9F0C6D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4EEDCE-2EA8-A2A0-1EAA-940627E34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C72291-34AD-DF5D-6100-C74993FCF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CFBADE-4F12-2255-C97C-4E5F41B0F1F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ADDCB5-60D6-6865-09F6-FFF0A5B3D42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6A6F76-9013-0250-F386-12A5D2EC7B1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A38BBC0-A8ED-4667-5A63-CFC163CBB9B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41FCB82-8C6F-98AA-A348-8A0723D018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16AF86A-B303-4AB6-D177-9A57CDB0A5E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0F27142-0FBB-B9DF-9DA9-80BBDD94BF9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FF9D7EA-81F4-64DD-26DC-4F6E7916CA4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DC0651-03BE-805B-434D-0020D8C8555C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BFEAA66-8CBA-15AE-C843-2D1A0AAA517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imeira reunião com o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Secu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: 204 Servidores total  84 OK 2024 e 118 p/ fazer 2025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30/09 9.2 (faltam 20 servidores)  App .NET com Windows velho (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x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16) e pensando em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KS com MQ/Container ou OCP/MQ 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28482B8-9088-46AD-FE79-004AAC04F1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ABD8333-D6D4-2398-657E-E507C31C11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BEA581F-5E8E-63E1-178C-1B15DF39984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4E060F5B-14C4-795F-78CD-D4687F64C57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113F23A7-534F-0FE5-BF16-F87BD982250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4BDA5A2-F520-795D-A029-2B4E48E5489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17F6291E-5815-FAC7-D953-9C683E5F320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1D795D6-DC47-E0E3-FC27-F509DBE461D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CBDC1443-085C-008D-4837-9182625CAA2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9C273E9-95AC-1B3B-361A-338B3D2A546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DB6C847-0BA3-46AA-2F80-5EF11C4A23B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BCE7D54-F669-0DBD-5827-36321CD907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D57396B-887C-5CE1-F40E-D6F0F3E57C8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IPSec  OK 09/04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84 OK 2024 e faltam 118 2025)  42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idores) =&gt; Itaú agendar convers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agendado 21/05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CC9B0EE-7ECC-4459-69CF-DF31F5E465A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Executado 21/05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juda na cópia msg w/ Streaming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qmq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ica = msg origin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-existência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SPB==&gt; canal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/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eiv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=&gt;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remisse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92 OK 2024 e faltam 112 2025)  45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ers) 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rquitetura para migração MQ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-premise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AWS  IBM analisar o pedido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303E229-5125-C25F-1E8B-B6E4FC0DD90C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7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04 (102 OK 2024 e falta 102 2025)  51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Publicar o produto MQ n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3BF64F9-E263-A142-E538-C951D99F8C79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8976903D-F481-19F0-B898-7F4E608032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B115065E-055D-F402-CBAE-A28C1027EBB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DB176B5-0996-52C3-E508-A6A867078D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29DD81A-5AF0-3CE3-7CB0-A778B77BAA2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5EE4F8D-FB4F-3880-4AA2-98A9581B7211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CBB9FA02-D7AE-3CDC-0A1F-E2E90418190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4EF7742-6881-2654-904A-F5F11ABD881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564EAC3-5ACF-9A9B-9AC0-7EAC1CFDF5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E1FECB45-885A-B1D5-868D-463CA1FCE6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46DA1586-841F-DB0C-F41F-D2D1FF7391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2712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CA82FF3-0A69-5EB5-7045-7510581F7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C15E6D97-90B8-AB04-EB30-5FE3479E4E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31FCC0-ECE0-E1C0-FCD1-EE2725B95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19CC24-1E38-615D-148F-A7D97E3D0C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751CD2-2653-AD86-196B-D9FBD5A22C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127054-811A-77DF-A612-974D8BE99A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EB3E3A-DC78-ABE6-879D-8B353DCFDA4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916277-BC01-F107-F833-3DC130346357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4455BA-D3E9-9793-68CD-C3583A4E6304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 / Orlean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2/07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3/07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3/08/2026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D0F42A8-420D-49C4-F63A-F7BAA292A2A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0CC1768-FBAA-CDE6-CCED-0C7473F11500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425F7AF-B97C-BE9A-B427-2074C7686F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C87346-E5B2-9F97-65CA-9DB55A7CC2A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7F45830-8E04-1A06-389C-4A5003A45C7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Conta corrent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z/OS  MQ AWS EC2 Linux  proc. Batch (30M/trans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3/07 – Plano de ação (c/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 para coletar traces outra rotina diári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Workshop MQ (como usar MQ em container).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d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Sample (JMS: QM, fila, persistente, COA/COD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Infra: RDQM mais próxim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ivo/Ativo?!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10=&gt;2025 (5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E22B0EB-5D24-34FE-BC08-2E5A9B6E10FD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00" dirty="0" err="1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aralizado</a:t>
              </a:r>
              <a:endParaRPr lang="pt-BR" sz="600" dirty="0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            &amp;      Workshop MQ (MQ em container).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10=&gt;2025 (5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hamado migração na Rotina Mensal (E descoberta lentidão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premisse)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026: Publicar o produto MQ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399BC71-F48A-62FF-1FC5-6A7E292DA2C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4FC48CD-0570-6C40-9388-A9E6D017E6CB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5A4F92B-19C7-54EB-8772-0ECC278613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D3C8E9F-9F64-81E6-1298-05E38F641E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DD579F68-8DF3-EE8D-51A3-1A0A741843D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7B7C05-639A-1C3E-E491-AB13FD479B1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3EE45CA7-D754-3378-89B9-6728A8248A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4C0109DF-10BC-8CD5-A0AB-400E2905828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517AE3D-5DC9-9850-2AD5-0F0398C0D69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5E8EBE-7F32-05FD-EA98-176291C8690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99B7968-F650-DCEA-A0A5-92332BA2518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C9A50F7-5B64-AFC9-897B-691BBE38C98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B1790FF-62AE-D7EE-E98F-700B520F3FFC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52088BD-E241-32F3-D401-EA5F267A951F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433A465-D5E8-03C4-2424-D9AA99A3E94C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40B18F6-8CEE-8FE5-1117-4A2A7F1768E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65A4A2F-D977-456C-8F51-3D4D1F11260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7F948486-CBF4-D512-D741-396F140163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E970C871-1F1D-4040-1D6A-601C0B5A1C3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6B007CB5-3506-80E7-E7DE-90D8A355050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DFCC19E-EB58-0E31-1FF8-83FC6A22749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EA3331D-8170-4033-7FD7-8D708500151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7FCF2251-6B96-D512-69BE-5B4B2B282F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4C406243-F2AD-E765-32EA-157C426A336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154A0B3-DB4E-205A-658B-778B132A4CA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63B747F7-ED25-B395-0284-0F293DFF2F2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ACED8FAD-0D89-9CDA-43B6-F5FF7371F0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0508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D16351-6B0B-498B-5E97-98B201307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9F6A2957-7DD1-7B58-BC0A-BC2F296B4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D64DAB-DCE8-CA85-DA6B-E4165DEF6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0873C5-CEC5-25BB-3EA4-AB3E5F253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90F218-7DA1-5DFA-D6B4-78160797F2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C9F8C2-6610-30D7-0171-0868FE2C71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473382-4E8C-74C0-54C9-B31A0B0B918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AB3893-BFD0-0C31-85E4-A26D707AB06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946977-0670-DC65-C382-6C5732031F4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A4147A7-20AF-223E-AE91-B6C0861576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1405472-B159-B47A-6BCB-5967E370792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7BB45F9-A9E9-1EC5-1BFE-4557676AAFBD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22199C5-833F-A9EF-DE0A-C65708F9151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89A1DAA-9708-8E53-02C1-BD09DFEEF79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5743B9C-4A3C-93AF-5E60-253EDB64D942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5FF8776-0410-62F1-C55C-183C1CE9085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Sabiá - 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715B622-648F-A11C-EB8F-4AE6538FFCA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407F920C-9893-5B1D-9F9E-BAE0B835FE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B11EB09C-CFAF-4692-EBE4-712833BECA1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21AE546E-B422-E08C-BC85-3C666ECD7A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F60E426-1289-FE46-D5B7-169D2E991E0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933B1B03-4730-FC76-BA80-4E5E2C6A82A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D056D62-B92E-2859-1F8C-58F68908449A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6904C30-2982-6A1E-F890-55AACD4FCC85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12B0B3B-07BB-BF52-FB99-65AB3CA1E9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FB9CD26-72A0-EC24-21B3-7EB487BBAE3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770EB2B-E729-E3A8-0773-BA33467212B9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1EB7846-AF14-D3CB-9657-F2A8423D2D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5AF40AB-C85E-DC84-088C-57F6164E4E0E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D1C2D31-6EDA-F9C4-4D41-BC53CF7611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8DDE1F4-BABB-6CE9-1778-428C4D71E43D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Alex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- 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DDC91D6-19D7-AAD0-79A5-41D5D4D243D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4C01A060-1E6E-7CEC-3DEC-47A54C1089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B91F5E0-E355-84BE-42A5-DC4DE5455E5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1CF6F8E-4EAC-D475-67F0-75195985B70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066EF944-A84D-FE26-C3FF-754BF7F93A3E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EE46B07-12AB-D8CE-997A-55FB0BE35E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A1E69D7E-B953-1CAF-5E1D-B463269DE76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AFD5BDC0-F7EF-1A6A-D53E-C7FC92CAE32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CFE04340-0490-F23A-1EE4-2BD1E8C5109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C6498BE4-3234-5E57-1F14-B2587D775BE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DFB589-D84B-A12D-92D1-2619810775BD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E4DDB46-213F-F41B-E5FF-ABFE3CAC1B4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0C47D69E-898D-4C93-B50B-1863B5506A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3460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07</TotalTime>
  <Words>2294</Words>
  <Application>Microsoft Office PowerPoint</Application>
  <PresentationFormat>Widescreen</PresentationFormat>
  <Paragraphs>566</Paragraphs>
  <Slides>23</Slides>
  <Notes>4</Notes>
  <HiddenSlides>3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4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aliação do CSM &amp; Grupos de discussões           CSM evaluation &amp; Groups</vt:lpstr>
      <vt:lpstr>Referências Externas (Ex: Gartner)            External references 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9</cp:revision>
  <dcterms:created xsi:type="dcterms:W3CDTF">2023-12-08T17:08:25Z</dcterms:created>
  <dcterms:modified xsi:type="dcterms:W3CDTF">2025-08-19T12:48:50Z</dcterms:modified>
</cp:coreProperties>
</file>